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av" ContentType="audio/x-wav"/>
  <Default Extension="wdp" ContentType="image/vnd.ms-photo"/>
  <Default Extension="gif" ContentType="image/gif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1" r:id="rId2"/>
    <p:sldMasterId id="2147483683" r:id="rId3"/>
    <p:sldMasterId id="2147483694" r:id="rId4"/>
  </p:sldMasterIdLst>
  <p:notesMasterIdLst>
    <p:notesMasterId r:id="rId20"/>
  </p:notesMasterIdLst>
  <p:sldIdLst>
    <p:sldId id="326" r:id="rId5"/>
    <p:sldId id="319" r:id="rId6"/>
    <p:sldId id="267" r:id="rId7"/>
    <p:sldId id="314" r:id="rId8"/>
    <p:sldId id="315" r:id="rId9"/>
    <p:sldId id="316" r:id="rId10"/>
    <p:sldId id="317" r:id="rId11"/>
    <p:sldId id="261" r:id="rId12"/>
    <p:sldId id="262" r:id="rId13"/>
    <p:sldId id="318" r:id="rId14"/>
    <p:sldId id="264" r:id="rId15"/>
    <p:sldId id="265" r:id="rId16"/>
    <p:sldId id="313" r:id="rId17"/>
    <p:sldId id="328" r:id="rId18"/>
    <p:sldId id="32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84" d="100"/>
          <a:sy n="84" d="100"/>
        </p:scale>
        <p:origin x="81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F67C0-3E8F-4EE5-8853-6C9AE10E171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E34D21-DA78-4782-82CD-B25CAB59A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754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abf9762155_0_25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44" name="Google Shape;1244;gabf9762155_0_25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5" name="Google Shape;1355;gd768e69cfa_0_32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6" name="Google Shape;1356;gd768e69cfa_0_32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59473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userDrawn="1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70871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C3684-6A9F-4FF6-82E8-EFEE0836C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3915C-4181-4570-B271-6D5427D640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8BE942-7201-4D2B-88C2-83E977B159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6F5370-83BC-4306-A4BF-C42AC97B72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EE42BC-A702-48B0-BB20-D83F3FCE9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9A8FA2-8795-47D9-B9F9-B5C388A57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6262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87C317-602E-4874-AA60-57D60122C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F2B387-BA8C-4C4B-8ACC-88B45889F0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A68314-8975-4614-B6A7-1648E3843C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DA789C-579B-4F39-8928-15B7F0D8F3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0093C8-E235-4B0B-A17A-A760BEAAB7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9E492D-2BD9-4F77-8B3F-E83CCB2CA7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68F37A1-F221-4686-BE74-0CA951B5E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0054E7E-3242-412B-8FB9-6EC2FB7C9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276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138AF-1102-4018-AFA4-BD7033FC3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DCDBDC-6A93-4055-9134-5E9CB12662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B6553C-33B2-4AE0-86BA-98ED8E08C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3F0E39-2038-4B49-AD82-20177E0F0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088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203414-FCC8-4372-927C-97C6E4CF78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017EE5-FD83-4FEF-B7E4-253532316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7FC388-A0D7-4210-A29A-30AC92122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2760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6F45F0-50DC-4D7A-BB14-44F3A8045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8B84DE-0329-496F-A413-8ED2891763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55BA4-6FDD-42E2-B092-635CC38A82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BF2810-0EEF-4E54-9B4E-52E38C4B56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99B237-E83E-4CF1-9295-D740867BB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223B63-F9CE-4C39-9111-83EE3425C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7647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6A8A1E-3298-4D11-A4E1-B7B028A45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4DFC48-C330-43CA-B0EE-8F6CE16FDC8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EE940A-401B-499F-9054-C124A9454D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E22FE3-DB75-4FA7-B620-B13C57E852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7FE463-0988-4D30-A3DC-3771AE0AD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B82C2C-2179-4221-A71B-4C59BDE3B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5383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7DFBBD-27A2-43B1-82FE-60A6642EB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8FD249-B855-493A-8EC5-F89253E846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FB4165-C19C-443E-9EE3-A1F7CD55C8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DEE0DA-33B1-4CF8-902E-0AEF8133CC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1E8C78-D213-4E3A-9DDD-8EEA2197D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375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1CBC176-85E2-4E2F-95C1-FF086553A4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A3879E-97A7-46E9-8345-7F721E007C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008B54-307D-46CD-BC0F-722F3AAB33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B7C70-6ABE-4BE8-A083-7ACF69CC4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8B1705-AA98-4CDF-B8F2-C1D179FA2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42949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/>
          <p:nvPr/>
        </p:nvSpPr>
        <p:spPr>
          <a:xfrm>
            <a:off x="4628205" y="4423297"/>
            <a:ext cx="4367971" cy="1951952"/>
          </a:xfrm>
          <a:custGeom>
            <a:avLst/>
            <a:gdLst/>
            <a:ahLst/>
            <a:cxnLst/>
            <a:rect l="l" t="t" r="r" b="b"/>
            <a:pathLst>
              <a:path w="48116" h="21502" extrusionOk="0">
                <a:moveTo>
                  <a:pt x="23815" y="7225"/>
                </a:moveTo>
                <a:lnTo>
                  <a:pt x="23815" y="7225"/>
                </a:lnTo>
                <a:cubicBezTo>
                  <a:pt x="26522" y="7268"/>
                  <a:pt x="29229" y="7860"/>
                  <a:pt x="31703" y="8981"/>
                </a:cubicBezTo>
                <a:cubicBezTo>
                  <a:pt x="29208" y="7902"/>
                  <a:pt x="26522" y="7310"/>
                  <a:pt x="23815" y="7225"/>
                </a:cubicBezTo>
                <a:close/>
                <a:moveTo>
                  <a:pt x="24503" y="0"/>
                </a:moveTo>
                <a:cubicBezTo>
                  <a:pt x="23995" y="0"/>
                  <a:pt x="23477" y="12"/>
                  <a:pt x="22948" y="35"/>
                </a:cubicBezTo>
                <a:cubicBezTo>
                  <a:pt x="12711" y="479"/>
                  <a:pt x="6599" y="5935"/>
                  <a:pt x="3279" y="10419"/>
                </a:cubicBezTo>
                <a:cubicBezTo>
                  <a:pt x="1988" y="12153"/>
                  <a:pt x="889" y="14036"/>
                  <a:pt x="0" y="16024"/>
                </a:cubicBezTo>
                <a:lnTo>
                  <a:pt x="762" y="16489"/>
                </a:lnTo>
                <a:cubicBezTo>
                  <a:pt x="1121" y="16722"/>
                  <a:pt x="1460" y="16933"/>
                  <a:pt x="1819" y="17166"/>
                </a:cubicBezTo>
                <a:lnTo>
                  <a:pt x="1967" y="17271"/>
                </a:lnTo>
                <a:lnTo>
                  <a:pt x="2454" y="17589"/>
                </a:lnTo>
                <a:cubicBezTo>
                  <a:pt x="2961" y="17948"/>
                  <a:pt x="3469" y="18308"/>
                  <a:pt x="3955" y="18667"/>
                </a:cubicBezTo>
                <a:cubicBezTo>
                  <a:pt x="4611" y="19154"/>
                  <a:pt x="5245" y="19640"/>
                  <a:pt x="5880" y="20127"/>
                </a:cubicBezTo>
                <a:lnTo>
                  <a:pt x="5943" y="20169"/>
                </a:lnTo>
                <a:cubicBezTo>
                  <a:pt x="6493" y="20613"/>
                  <a:pt x="7064" y="21057"/>
                  <a:pt x="7635" y="21501"/>
                </a:cubicBezTo>
                <a:cubicBezTo>
                  <a:pt x="8122" y="20211"/>
                  <a:pt x="8735" y="18963"/>
                  <a:pt x="9454" y="17779"/>
                </a:cubicBezTo>
                <a:cubicBezTo>
                  <a:pt x="12612" y="12631"/>
                  <a:pt x="17183" y="10010"/>
                  <a:pt x="23049" y="10010"/>
                </a:cubicBezTo>
                <a:cubicBezTo>
                  <a:pt x="23232" y="10010"/>
                  <a:pt x="23417" y="10012"/>
                  <a:pt x="23603" y="10017"/>
                </a:cubicBezTo>
                <a:cubicBezTo>
                  <a:pt x="32274" y="10250"/>
                  <a:pt x="37245" y="14987"/>
                  <a:pt x="40776" y="20465"/>
                </a:cubicBezTo>
                <a:cubicBezTo>
                  <a:pt x="41242" y="20211"/>
                  <a:pt x="41707" y="19915"/>
                  <a:pt x="42151" y="19640"/>
                </a:cubicBezTo>
                <a:lnTo>
                  <a:pt x="42257" y="19577"/>
                </a:lnTo>
                <a:lnTo>
                  <a:pt x="42278" y="19556"/>
                </a:lnTo>
                <a:cubicBezTo>
                  <a:pt x="42468" y="19429"/>
                  <a:pt x="42638" y="19323"/>
                  <a:pt x="42807" y="19217"/>
                </a:cubicBezTo>
                <a:cubicBezTo>
                  <a:pt x="43209" y="18963"/>
                  <a:pt x="43589" y="18688"/>
                  <a:pt x="43991" y="18435"/>
                </a:cubicBezTo>
                <a:lnTo>
                  <a:pt x="44330" y="18202"/>
                </a:lnTo>
                <a:cubicBezTo>
                  <a:pt x="44964" y="17779"/>
                  <a:pt x="45599" y="17356"/>
                  <a:pt x="46233" y="16933"/>
                </a:cubicBezTo>
                <a:cubicBezTo>
                  <a:pt x="46445" y="16785"/>
                  <a:pt x="46677" y="16658"/>
                  <a:pt x="46910" y="16510"/>
                </a:cubicBezTo>
                <a:cubicBezTo>
                  <a:pt x="47291" y="16235"/>
                  <a:pt x="47692" y="16002"/>
                  <a:pt x="48115" y="15791"/>
                </a:cubicBezTo>
                <a:cubicBezTo>
                  <a:pt x="44178" y="8466"/>
                  <a:pt x="38370" y="0"/>
                  <a:pt x="24503" y="0"/>
                </a:cubicBezTo>
                <a:close/>
              </a:path>
            </a:pathLst>
          </a:custGeom>
          <a:solidFill>
            <a:srgbClr val="F3D557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Google Shape;10;p2"/>
          <p:cNvSpPr/>
          <p:nvPr/>
        </p:nvSpPr>
        <p:spPr>
          <a:xfrm>
            <a:off x="4587901" y="4390617"/>
            <a:ext cx="4450489" cy="2034561"/>
          </a:xfrm>
          <a:custGeom>
            <a:avLst/>
            <a:gdLst/>
            <a:ahLst/>
            <a:cxnLst/>
            <a:rect l="l" t="t" r="r" b="b"/>
            <a:pathLst>
              <a:path w="49025" h="22412" extrusionOk="0">
                <a:moveTo>
                  <a:pt x="24259" y="7247"/>
                </a:moveTo>
                <a:lnTo>
                  <a:pt x="24237" y="7924"/>
                </a:lnTo>
                <a:cubicBezTo>
                  <a:pt x="26902" y="8030"/>
                  <a:pt x="29546" y="8622"/>
                  <a:pt x="32020" y="9658"/>
                </a:cubicBezTo>
                <a:lnTo>
                  <a:pt x="32295" y="9024"/>
                </a:lnTo>
                <a:cubicBezTo>
                  <a:pt x="29757" y="7903"/>
                  <a:pt x="27029" y="7289"/>
                  <a:pt x="24259" y="7247"/>
                </a:cubicBezTo>
                <a:close/>
                <a:moveTo>
                  <a:pt x="24961" y="698"/>
                </a:moveTo>
                <a:cubicBezTo>
                  <a:pt x="37841" y="698"/>
                  <a:pt x="43720" y="7989"/>
                  <a:pt x="48073" y="16024"/>
                </a:cubicBezTo>
                <a:cubicBezTo>
                  <a:pt x="47756" y="16193"/>
                  <a:pt x="47438" y="16384"/>
                  <a:pt x="47142" y="16574"/>
                </a:cubicBezTo>
                <a:cubicBezTo>
                  <a:pt x="46910" y="16701"/>
                  <a:pt x="46698" y="16849"/>
                  <a:pt x="46466" y="16997"/>
                </a:cubicBezTo>
                <a:lnTo>
                  <a:pt x="46191" y="17187"/>
                </a:lnTo>
                <a:cubicBezTo>
                  <a:pt x="45662" y="17526"/>
                  <a:pt x="45112" y="17906"/>
                  <a:pt x="44562" y="18266"/>
                </a:cubicBezTo>
                <a:lnTo>
                  <a:pt x="44541" y="18287"/>
                </a:lnTo>
                <a:lnTo>
                  <a:pt x="44203" y="18499"/>
                </a:lnTo>
                <a:cubicBezTo>
                  <a:pt x="43843" y="18752"/>
                  <a:pt x="43462" y="19006"/>
                  <a:pt x="43060" y="19281"/>
                </a:cubicBezTo>
                <a:lnTo>
                  <a:pt x="43018" y="19302"/>
                </a:lnTo>
                <a:lnTo>
                  <a:pt x="42532" y="19619"/>
                </a:lnTo>
                <a:lnTo>
                  <a:pt x="42384" y="19704"/>
                </a:lnTo>
                <a:cubicBezTo>
                  <a:pt x="42066" y="19916"/>
                  <a:pt x="41707" y="20148"/>
                  <a:pt x="41326" y="20360"/>
                </a:cubicBezTo>
                <a:cubicBezTo>
                  <a:pt x="38450" y="15961"/>
                  <a:pt x="33522" y="10271"/>
                  <a:pt x="24047" y="10039"/>
                </a:cubicBezTo>
                <a:cubicBezTo>
                  <a:pt x="23860" y="10034"/>
                  <a:pt x="23673" y="10031"/>
                  <a:pt x="23488" y="10031"/>
                </a:cubicBezTo>
                <a:cubicBezTo>
                  <a:pt x="17478" y="10031"/>
                  <a:pt x="12823" y="12697"/>
                  <a:pt x="9602" y="17970"/>
                </a:cubicBezTo>
                <a:cubicBezTo>
                  <a:pt x="8946" y="19027"/>
                  <a:pt x="8375" y="20148"/>
                  <a:pt x="7910" y="21290"/>
                </a:cubicBezTo>
                <a:cubicBezTo>
                  <a:pt x="7466" y="20952"/>
                  <a:pt x="7022" y="20613"/>
                  <a:pt x="6599" y="20254"/>
                </a:cubicBezTo>
                <a:lnTo>
                  <a:pt x="6535" y="20212"/>
                </a:lnTo>
                <a:cubicBezTo>
                  <a:pt x="5880" y="19704"/>
                  <a:pt x="5224" y="19218"/>
                  <a:pt x="4611" y="18752"/>
                </a:cubicBezTo>
                <a:cubicBezTo>
                  <a:pt x="4061" y="18350"/>
                  <a:pt x="3553" y="17991"/>
                  <a:pt x="3088" y="17674"/>
                </a:cubicBezTo>
                <a:cubicBezTo>
                  <a:pt x="2961" y="17589"/>
                  <a:pt x="2834" y="17505"/>
                  <a:pt x="2729" y="17420"/>
                </a:cubicBezTo>
                <a:lnTo>
                  <a:pt x="2454" y="17251"/>
                </a:lnTo>
                <a:cubicBezTo>
                  <a:pt x="2031" y="16955"/>
                  <a:pt x="1713" y="16743"/>
                  <a:pt x="1396" y="16553"/>
                </a:cubicBezTo>
                <a:lnTo>
                  <a:pt x="889" y="16257"/>
                </a:lnTo>
                <a:cubicBezTo>
                  <a:pt x="1734" y="14396"/>
                  <a:pt x="2771" y="12640"/>
                  <a:pt x="3997" y="10991"/>
                </a:cubicBezTo>
                <a:cubicBezTo>
                  <a:pt x="7276" y="6549"/>
                  <a:pt x="13303" y="1177"/>
                  <a:pt x="23392" y="733"/>
                </a:cubicBezTo>
                <a:cubicBezTo>
                  <a:pt x="23926" y="710"/>
                  <a:pt x="24449" y="698"/>
                  <a:pt x="24961" y="698"/>
                </a:cubicBezTo>
                <a:close/>
                <a:moveTo>
                  <a:pt x="24959" y="0"/>
                </a:moveTo>
                <a:cubicBezTo>
                  <a:pt x="24438" y="0"/>
                  <a:pt x="23908" y="12"/>
                  <a:pt x="23370" y="35"/>
                </a:cubicBezTo>
                <a:cubicBezTo>
                  <a:pt x="13007" y="479"/>
                  <a:pt x="6810" y="5999"/>
                  <a:pt x="3448" y="10546"/>
                </a:cubicBezTo>
                <a:cubicBezTo>
                  <a:pt x="2136" y="12323"/>
                  <a:pt x="1015" y="14226"/>
                  <a:pt x="127" y="16214"/>
                </a:cubicBezTo>
                <a:lnTo>
                  <a:pt x="0" y="16511"/>
                </a:lnTo>
                <a:lnTo>
                  <a:pt x="423" y="16764"/>
                </a:lnTo>
                <a:lnTo>
                  <a:pt x="1015" y="17145"/>
                </a:lnTo>
                <a:cubicBezTo>
                  <a:pt x="1333" y="17335"/>
                  <a:pt x="1650" y="17526"/>
                  <a:pt x="2052" y="17822"/>
                </a:cubicBezTo>
                <a:lnTo>
                  <a:pt x="2327" y="17991"/>
                </a:lnTo>
                <a:cubicBezTo>
                  <a:pt x="2432" y="18076"/>
                  <a:pt x="2559" y="18160"/>
                  <a:pt x="2686" y="18224"/>
                </a:cubicBezTo>
                <a:cubicBezTo>
                  <a:pt x="3152" y="18562"/>
                  <a:pt x="3659" y="18922"/>
                  <a:pt x="4188" y="19302"/>
                </a:cubicBezTo>
                <a:cubicBezTo>
                  <a:pt x="4801" y="19767"/>
                  <a:pt x="5457" y="20254"/>
                  <a:pt x="6112" y="20762"/>
                </a:cubicBezTo>
                <a:lnTo>
                  <a:pt x="6155" y="20804"/>
                </a:lnTo>
                <a:cubicBezTo>
                  <a:pt x="6726" y="21248"/>
                  <a:pt x="7276" y="21692"/>
                  <a:pt x="7847" y="22136"/>
                </a:cubicBezTo>
                <a:lnTo>
                  <a:pt x="8206" y="22411"/>
                </a:lnTo>
                <a:lnTo>
                  <a:pt x="8375" y="21967"/>
                </a:lnTo>
                <a:cubicBezTo>
                  <a:pt x="8862" y="20698"/>
                  <a:pt x="9475" y="19471"/>
                  <a:pt x="10173" y="18308"/>
                </a:cubicBezTo>
                <a:cubicBezTo>
                  <a:pt x="13279" y="13268"/>
                  <a:pt x="17766" y="10710"/>
                  <a:pt x="23536" y="10710"/>
                </a:cubicBezTo>
                <a:cubicBezTo>
                  <a:pt x="23698" y="10710"/>
                  <a:pt x="23862" y="10712"/>
                  <a:pt x="24026" y="10716"/>
                </a:cubicBezTo>
                <a:cubicBezTo>
                  <a:pt x="33395" y="10969"/>
                  <a:pt x="38154" y="16701"/>
                  <a:pt x="40924" y="21015"/>
                </a:cubicBezTo>
                <a:lnTo>
                  <a:pt x="41094" y="21290"/>
                </a:lnTo>
                <a:lnTo>
                  <a:pt x="41390" y="21121"/>
                </a:lnTo>
                <a:cubicBezTo>
                  <a:pt x="41876" y="20846"/>
                  <a:pt x="42341" y="20550"/>
                  <a:pt x="42764" y="20296"/>
                </a:cubicBezTo>
                <a:lnTo>
                  <a:pt x="42828" y="20254"/>
                </a:lnTo>
                <a:lnTo>
                  <a:pt x="42912" y="20190"/>
                </a:lnTo>
                <a:lnTo>
                  <a:pt x="43399" y="19873"/>
                </a:lnTo>
                <a:lnTo>
                  <a:pt x="43441" y="19852"/>
                </a:lnTo>
                <a:cubicBezTo>
                  <a:pt x="43716" y="19662"/>
                  <a:pt x="44012" y="19493"/>
                  <a:pt x="44287" y="19302"/>
                </a:cubicBezTo>
                <a:lnTo>
                  <a:pt x="44964" y="18837"/>
                </a:lnTo>
                <a:cubicBezTo>
                  <a:pt x="45598" y="18414"/>
                  <a:pt x="46233" y="17991"/>
                  <a:pt x="46846" y="17589"/>
                </a:cubicBezTo>
                <a:lnTo>
                  <a:pt x="47079" y="17420"/>
                </a:lnTo>
                <a:cubicBezTo>
                  <a:pt x="47227" y="17335"/>
                  <a:pt x="47375" y="17251"/>
                  <a:pt x="47523" y="17145"/>
                </a:cubicBezTo>
                <a:cubicBezTo>
                  <a:pt x="47904" y="16912"/>
                  <a:pt x="48284" y="16701"/>
                  <a:pt x="48729" y="16447"/>
                </a:cubicBezTo>
                <a:lnTo>
                  <a:pt x="49025" y="16299"/>
                </a:lnTo>
                <a:lnTo>
                  <a:pt x="48855" y="15982"/>
                </a:lnTo>
                <a:cubicBezTo>
                  <a:pt x="46867" y="12281"/>
                  <a:pt x="44287" y="8051"/>
                  <a:pt x="40269" y="4900"/>
                </a:cubicBezTo>
                <a:cubicBezTo>
                  <a:pt x="36098" y="1606"/>
                  <a:pt x="31083" y="0"/>
                  <a:pt x="2495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4633925" y="4423298"/>
            <a:ext cx="4367971" cy="1598636"/>
          </a:xfrm>
          <a:custGeom>
            <a:avLst/>
            <a:gdLst/>
            <a:ahLst/>
            <a:cxnLst/>
            <a:rect l="l" t="t" r="r" b="b"/>
            <a:pathLst>
              <a:path w="48116" h="17610" extrusionOk="0">
                <a:moveTo>
                  <a:pt x="24522" y="0"/>
                </a:moveTo>
                <a:cubicBezTo>
                  <a:pt x="24015" y="0"/>
                  <a:pt x="23498" y="12"/>
                  <a:pt x="22969" y="35"/>
                </a:cubicBezTo>
                <a:cubicBezTo>
                  <a:pt x="12712" y="479"/>
                  <a:pt x="6621" y="5935"/>
                  <a:pt x="3300" y="10419"/>
                </a:cubicBezTo>
                <a:cubicBezTo>
                  <a:pt x="2010" y="12153"/>
                  <a:pt x="910" y="14036"/>
                  <a:pt x="1" y="16024"/>
                </a:cubicBezTo>
                <a:lnTo>
                  <a:pt x="783" y="16489"/>
                </a:lnTo>
                <a:cubicBezTo>
                  <a:pt x="1354" y="16848"/>
                  <a:pt x="1904" y="17229"/>
                  <a:pt x="2475" y="17610"/>
                </a:cubicBezTo>
                <a:cubicBezTo>
                  <a:pt x="3321" y="15643"/>
                  <a:pt x="4400" y="13782"/>
                  <a:pt x="5669" y="12069"/>
                </a:cubicBezTo>
                <a:cubicBezTo>
                  <a:pt x="9962" y="6316"/>
                  <a:pt x="15821" y="3249"/>
                  <a:pt x="23096" y="2932"/>
                </a:cubicBezTo>
                <a:cubicBezTo>
                  <a:pt x="23578" y="2911"/>
                  <a:pt x="24049" y="2900"/>
                  <a:pt x="24511" y="2900"/>
                </a:cubicBezTo>
                <a:cubicBezTo>
                  <a:pt x="36845" y="2900"/>
                  <a:pt x="41932" y="10382"/>
                  <a:pt x="45662" y="17314"/>
                </a:cubicBezTo>
                <a:cubicBezTo>
                  <a:pt x="46064" y="17039"/>
                  <a:pt x="46487" y="16764"/>
                  <a:pt x="46910" y="16489"/>
                </a:cubicBezTo>
                <a:cubicBezTo>
                  <a:pt x="47333" y="16235"/>
                  <a:pt x="47693" y="16024"/>
                  <a:pt x="48116" y="15791"/>
                </a:cubicBezTo>
                <a:cubicBezTo>
                  <a:pt x="44178" y="8466"/>
                  <a:pt x="38370" y="0"/>
                  <a:pt x="2452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/>
          <p:nvPr/>
        </p:nvSpPr>
        <p:spPr>
          <a:xfrm>
            <a:off x="4799053" y="4615839"/>
            <a:ext cx="4031993" cy="1515572"/>
          </a:xfrm>
          <a:custGeom>
            <a:avLst/>
            <a:gdLst/>
            <a:ahLst/>
            <a:cxnLst/>
            <a:rect l="l" t="t" r="r" b="b"/>
            <a:pathLst>
              <a:path w="44415" h="16695" extrusionOk="0">
                <a:moveTo>
                  <a:pt x="21781" y="0"/>
                </a:moveTo>
                <a:cubicBezTo>
                  <a:pt x="21559" y="0"/>
                  <a:pt x="21334" y="3"/>
                  <a:pt x="21108" y="8"/>
                </a:cubicBezTo>
                <a:cubicBezTo>
                  <a:pt x="11485" y="198"/>
                  <a:pt x="5880" y="5422"/>
                  <a:pt x="2877" y="9778"/>
                </a:cubicBezTo>
                <a:cubicBezTo>
                  <a:pt x="1735" y="11428"/>
                  <a:pt x="783" y="13205"/>
                  <a:pt x="1" y="15045"/>
                </a:cubicBezTo>
                <a:cubicBezTo>
                  <a:pt x="804" y="15573"/>
                  <a:pt x="1587" y="16123"/>
                  <a:pt x="2348" y="16694"/>
                </a:cubicBezTo>
                <a:cubicBezTo>
                  <a:pt x="3088" y="14854"/>
                  <a:pt x="4019" y="13099"/>
                  <a:pt x="5161" y="11470"/>
                </a:cubicBezTo>
                <a:cubicBezTo>
                  <a:pt x="9031" y="5887"/>
                  <a:pt x="14467" y="3011"/>
                  <a:pt x="21298" y="2863"/>
                </a:cubicBezTo>
                <a:cubicBezTo>
                  <a:pt x="21493" y="2859"/>
                  <a:pt x="21685" y="2857"/>
                  <a:pt x="21876" y="2857"/>
                </a:cubicBezTo>
                <a:cubicBezTo>
                  <a:pt x="33254" y="2857"/>
                  <a:pt x="38470" y="9616"/>
                  <a:pt x="42151" y="16314"/>
                </a:cubicBezTo>
                <a:cubicBezTo>
                  <a:pt x="42913" y="15806"/>
                  <a:pt x="43653" y="15298"/>
                  <a:pt x="44414" y="14812"/>
                </a:cubicBezTo>
                <a:cubicBezTo>
                  <a:pt x="40444" y="7682"/>
                  <a:pt x="34533" y="0"/>
                  <a:pt x="217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" name="Google Shape;13;p2"/>
          <p:cNvSpPr/>
          <p:nvPr/>
        </p:nvSpPr>
        <p:spPr>
          <a:xfrm>
            <a:off x="4964181" y="4819911"/>
            <a:ext cx="3696017" cy="1430511"/>
          </a:xfrm>
          <a:custGeom>
            <a:avLst/>
            <a:gdLst/>
            <a:ahLst/>
            <a:cxnLst/>
            <a:rect l="l" t="t" r="r" b="b"/>
            <a:pathLst>
              <a:path w="40714" h="15758" extrusionOk="0">
                <a:moveTo>
                  <a:pt x="19120" y="1"/>
                </a:moveTo>
                <a:cubicBezTo>
                  <a:pt x="10215" y="1"/>
                  <a:pt x="5144" y="4998"/>
                  <a:pt x="2454" y="9201"/>
                </a:cubicBezTo>
                <a:cubicBezTo>
                  <a:pt x="1481" y="10724"/>
                  <a:pt x="656" y="12374"/>
                  <a:pt x="1" y="14066"/>
                </a:cubicBezTo>
                <a:cubicBezTo>
                  <a:pt x="762" y="14616"/>
                  <a:pt x="1502" y="15187"/>
                  <a:pt x="2242" y="15758"/>
                </a:cubicBezTo>
                <a:cubicBezTo>
                  <a:pt x="2856" y="14066"/>
                  <a:pt x="3659" y="12437"/>
                  <a:pt x="4632" y="10914"/>
                </a:cubicBezTo>
                <a:cubicBezTo>
                  <a:pt x="8116" y="5542"/>
                  <a:pt x="13078" y="2835"/>
                  <a:pt x="19395" y="2835"/>
                </a:cubicBezTo>
                <a:cubicBezTo>
                  <a:pt x="19444" y="2835"/>
                  <a:pt x="19493" y="2835"/>
                  <a:pt x="19543" y="2835"/>
                </a:cubicBezTo>
                <a:cubicBezTo>
                  <a:pt x="29779" y="2899"/>
                  <a:pt x="34961" y="8884"/>
                  <a:pt x="38619" y="15208"/>
                </a:cubicBezTo>
                <a:cubicBezTo>
                  <a:pt x="39317" y="14764"/>
                  <a:pt x="40015" y="14298"/>
                  <a:pt x="40713" y="13812"/>
                </a:cubicBezTo>
                <a:cubicBezTo>
                  <a:pt x="36737" y="6959"/>
                  <a:pt x="30858" y="86"/>
                  <a:pt x="19289" y="1"/>
                </a:cubicBezTo>
                <a:cubicBezTo>
                  <a:pt x="19233" y="1"/>
                  <a:pt x="19176" y="1"/>
                  <a:pt x="19120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Google Shape;14;p2"/>
          <p:cNvSpPr/>
          <p:nvPr/>
        </p:nvSpPr>
        <p:spPr>
          <a:xfrm>
            <a:off x="4628205" y="4423297"/>
            <a:ext cx="4367971" cy="1951952"/>
          </a:xfrm>
          <a:custGeom>
            <a:avLst/>
            <a:gdLst/>
            <a:ahLst/>
            <a:cxnLst/>
            <a:rect l="l" t="t" r="r" b="b"/>
            <a:pathLst>
              <a:path w="48116" h="21502" extrusionOk="0">
                <a:moveTo>
                  <a:pt x="23815" y="7225"/>
                </a:moveTo>
                <a:lnTo>
                  <a:pt x="23815" y="7225"/>
                </a:lnTo>
                <a:cubicBezTo>
                  <a:pt x="26522" y="7268"/>
                  <a:pt x="29229" y="7860"/>
                  <a:pt x="31703" y="8981"/>
                </a:cubicBezTo>
                <a:cubicBezTo>
                  <a:pt x="29208" y="7902"/>
                  <a:pt x="26522" y="7310"/>
                  <a:pt x="23815" y="7225"/>
                </a:cubicBezTo>
                <a:close/>
                <a:moveTo>
                  <a:pt x="24503" y="0"/>
                </a:moveTo>
                <a:cubicBezTo>
                  <a:pt x="23995" y="0"/>
                  <a:pt x="23477" y="12"/>
                  <a:pt x="22948" y="35"/>
                </a:cubicBezTo>
                <a:cubicBezTo>
                  <a:pt x="12711" y="479"/>
                  <a:pt x="6599" y="5935"/>
                  <a:pt x="3279" y="10419"/>
                </a:cubicBezTo>
                <a:cubicBezTo>
                  <a:pt x="1988" y="12153"/>
                  <a:pt x="889" y="14036"/>
                  <a:pt x="0" y="16024"/>
                </a:cubicBezTo>
                <a:lnTo>
                  <a:pt x="762" y="16489"/>
                </a:lnTo>
                <a:cubicBezTo>
                  <a:pt x="1121" y="16722"/>
                  <a:pt x="1460" y="16933"/>
                  <a:pt x="1819" y="17166"/>
                </a:cubicBezTo>
                <a:lnTo>
                  <a:pt x="1967" y="17271"/>
                </a:lnTo>
                <a:lnTo>
                  <a:pt x="2454" y="17589"/>
                </a:lnTo>
                <a:cubicBezTo>
                  <a:pt x="2961" y="17948"/>
                  <a:pt x="3469" y="18308"/>
                  <a:pt x="3955" y="18667"/>
                </a:cubicBezTo>
                <a:cubicBezTo>
                  <a:pt x="4611" y="19154"/>
                  <a:pt x="5245" y="19640"/>
                  <a:pt x="5880" y="20127"/>
                </a:cubicBezTo>
                <a:lnTo>
                  <a:pt x="5943" y="20169"/>
                </a:lnTo>
                <a:cubicBezTo>
                  <a:pt x="6493" y="20613"/>
                  <a:pt x="7064" y="21057"/>
                  <a:pt x="7635" y="21501"/>
                </a:cubicBezTo>
                <a:cubicBezTo>
                  <a:pt x="8122" y="20211"/>
                  <a:pt x="8735" y="18963"/>
                  <a:pt x="9454" y="17779"/>
                </a:cubicBezTo>
                <a:cubicBezTo>
                  <a:pt x="12612" y="12631"/>
                  <a:pt x="17183" y="10010"/>
                  <a:pt x="23049" y="10010"/>
                </a:cubicBezTo>
                <a:cubicBezTo>
                  <a:pt x="23232" y="10010"/>
                  <a:pt x="23417" y="10012"/>
                  <a:pt x="23603" y="10017"/>
                </a:cubicBezTo>
                <a:cubicBezTo>
                  <a:pt x="32274" y="10250"/>
                  <a:pt x="37245" y="14987"/>
                  <a:pt x="40776" y="20465"/>
                </a:cubicBezTo>
                <a:cubicBezTo>
                  <a:pt x="41242" y="20211"/>
                  <a:pt x="41707" y="19915"/>
                  <a:pt x="42151" y="19640"/>
                </a:cubicBezTo>
                <a:lnTo>
                  <a:pt x="42257" y="19577"/>
                </a:lnTo>
                <a:lnTo>
                  <a:pt x="42278" y="19556"/>
                </a:lnTo>
                <a:cubicBezTo>
                  <a:pt x="42468" y="19429"/>
                  <a:pt x="42638" y="19323"/>
                  <a:pt x="42807" y="19217"/>
                </a:cubicBezTo>
                <a:cubicBezTo>
                  <a:pt x="43209" y="18963"/>
                  <a:pt x="43589" y="18688"/>
                  <a:pt x="43991" y="18435"/>
                </a:cubicBezTo>
                <a:lnTo>
                  <a:pt x="44330" y="18202"/>
                </a:lnTo>
                <a:cubicBezTo>
                  <a:pt x="44964" y="17779"/>
                  <a:pt x="45599" y="17356"/>
                  <a:pt x="46233" y="16933"/>
                </a:cubicBezTo>
                <a:cubicBezTo>
                  <a:pt x="46445" y="16785"/>
                  <a:pt x="46677" y="16658"/>
                  <a:pt x="46910" y="16510"/>
                </a:cubicBezTo>
                <a:cubicBezTo>
                  <a:pt x="47291" y="16235"/>
                  <a:pt x="47692" y="16002"/>
                  <a:pt x="48115" y="15791"/>
                </a:cubicBezTo>
                <a:cubicBezTo>
                  <a:pt x="44178" y="8466"/>
                  <a:pt x="38370" y="0"/>
                  <a:pt x="24503" y="0"/>
                </a:cubicBezTo>
                <a:close/>
              </a:path>
            </a:pathLst>
          </a:custGeom>
          <a:solidFill>
            <a:srgbClr val="F3D557"/>
          </a:solidFill>
          <a:ln w="1143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" name="Google Shape;15;p2"/>
          <p:cNvSpPr/>
          <p:nvPr/>
        </p:nvSpPr>
        <p:spPr>
          <a:xfrm>
            <a:off x="4587901" y="4390617"/>
            <a:ext cx="4450489" cy="2034561"/>
          </a:xfrm>
          <a:custGeom>
            <a:avLst/>
            <a:gdLst/>
            <a:ahLst/>
            <a:cxnLst/>
            <a:rect l="l" t="t" r="r" b="b"/>
            <a:pathLst>
              <a:path w="49025" h="22412" extrusionOk="0">
                <a:moveTo>
                  <a:pt x="24259" y="7247"/>
                </a:moveTo>
                <a:lnTo>
                  <a:pt x="24237" y="7924"/>
                </a:lnTo>
                <a:cubicBezTo>
                  <a:pt x="26902" y="8030"/>
                  <a:pt x="29546" y="8622"/>
                  <a:pt x="32020" y="9658"/>
                </a:cubicBezTo>
                <a:lnTo>
                  <a:pt x="32295" y="9024"/>
                </a:lnTo>
                <a:cubicBezTo>
                  <a:pt x="29757" y="7903"/>
                  <a:pt x="27029" y="7289"/>
                  <a:pt x="24259" y="7247"/>
                </a:cubicBezTo>
                <a:close/>
                <a:moveTo>
                  <a:pt x="24961" y="698"/>
                </a:moveTo>
                <a:cubicBezTo>
                  <a:pt x="37841" y="698"/>
                  <a:pt x="43720" y="7989"/>
                  <a:pt x="48073" y="16024"/>
                </a:cubicBezTo>
                <a:cubicBezTo>
                  <a:pt x="47756" y="16193"/>
                  <a:pt x="47438" y="16384"/>
                  <a:pt x="47142" y="16574"/>
                </a:cubicBezTo>
                <a:cubicBezTo>
                  <a:pt x="46910" y="16701"/>
                  <a:pt x="46698" y="16849"/>
                  <a:pt x="46466" y="16997"/>
                </a:cubicBezTo>
                <a:lnTo>
                  <a:pt x="46191" y="17187"/>
                </a:lnTo>
                <a:cubicBezTo>
                  <a:pt x="45662" y="17526"/>
                  <a:pt x="45112" y="17906"/>
                  <a:pt x="44562" y="18266"/>
                </a:cubicBezTo>
                <a:lnTo>
                  <a:pt x="44541" y="18287"/>
                </a:lnTo>
                <a:lnTo>
                  <a:pt x="44203" y="18499"/>
                </a:lnTo>
                <a:cubicBezTo>
                  <a:pt x="43843" y="18752"/>
                  <a:pt x="43462" y="19006"/>
                  <a:pt x="43060" y="19281"/>
                </a:cubicBezTo>
                <a:lnTo>
                  <a:pt x="43018" y="19302"/>
                </a:lnTo>
                <a:lnTo>
                  <a:pt x="42532" y="19619"/>
                </a:lnTo>
                <a:lnTo>
                  <a:pt x="42384" y="19704"/>
                </a:lnTo>
                <a:cubicBezTo>
                  <a:pt x="42066" y="19916"/>
                  <a:pt x="41707" y="20148"/>
                  <a:pt x="41326" y="20360"/>
                </a:cubicBezTo>
                <a:cubicBezTo>
                  <a:pt x="38450" y="15961"/>
                  <a:pt x="33522" y="10271"/>
                  <a:pt x="24047" y="10039"/>
                </a:cubicBezTo>
                <a:cubicBezTo>
                  <a:pt x="23860" y="10034"/>
                  <a:pt x="23673" y="10031"/>
                  <a:pt x="23488" y="10031"/>
                </a:cubicBezTo>
                <a:cubicBezTo>
                  <a:pt x="17478" y="10031"/>
                  <a:pt x="12823" y="12697"/>
                  <a:pt x="9602" y="17970"/>
                </a:cubicBezTo>
                <a:cubicBezTo>
                  <a:pt x="8946" y="19027"/>
                  <a:pt x="8375" y="20148"/>
                  <a:pt x="7910" y="21290"/>
                </a:cubicBezTo>
                <a:cubicBezTo>
                  <a:pt x="7466" y="20952"/>
                  <a:pt x="7022" y="20613"/>
                  <a:pt x="6599" y="20254"/>
                </a:cubicBezTo>
                <a:lnTo>
                  <a:pt x="6535" y="20212"/>
                </a:lnTo>
                <a:cubicBezTo>
                  <a:pt x="5880" y="19704"/>
                  <a:pt x="5224" y="19218"/>
                  <a:pt x="4611" y="18752"/>
                </a:cubicBezTo>
                <a:cubicBezTo>
                  <a:pt x="4061" y="18350"/>
                  <a:pt x="3553" y="17991"/>
                  <a:pt x="3088" y="17674"/>
                </a:cubicBezTo>
                <a:cubicBezTo>
                  <a:pt x="2961" y="17589"/>
                  <a:pt x="2834" y="17505"/>
                  <a:pt x="2729" y="17420"/>
                </a:cubicBezTo>
                <a:lnTo>
                  <a:pt x="2454" y="17251"/>
                </a:lnTo>
                <a:cubicBezTo>
                  <a:pt x="2031" y="16955"/>
                  <a:pt x="1713" y="16743"/>
                  <a:pt x="1396" y="16553"/>
                </a:cubicBezTo>
                <a:lnTo>
                  <a:pt x="889" y="16257"/>
                </a:lnTo>
                <a:cubicBezTo>
                  <a:pt x="1734" y="14396"/>
                  <a:pt x="2771" y="12640"/>
                  <a:pt x="3997" y="10991"/>
                </a:cubicBezTo>
                <a:cubicBezTo>
                  <a:pt x="7276" y="6549"/>
                  <a:pt x="13303" y="1177"/>
                  <a:pt x="23392" y="733"/>
                </a:cubicBezTo>
                <a:cubicBezTo>
                  <a:pt x="23926" y="710"/>
                  <a:pt x="24449" y="698"/>
                  <a:pt x="24961" y="698"/>
                </a:cubicBezTo>
                <a:close/>
                <a:moveTo>
                  <a:pt x="24959" y="0"/>
                </a:moveTo>
                <a:cubicBezTo>
                  <a:pt x="24438" y="0"/>
                  <a:pt x="23908" y="12"/>
                  <a:pt x="23370" y="35"/>
                </a:cubicBezTo>
                <a:cubicBezTo>
                  <a:pt x="13007" y="479"/>
                  <a:pt x="6810" y="5999"/>
                  <a:pt x="3448" y="10546"/>
                </a:cubicBezTo>
                <a:cubicBezTo>
                  <a:pt x="2136" y="12323"/>
                  <a:pt x="1015" y="14226"/>
                  <a:pt x="127" y="16214"/>
                </a:cubicBezTo>
                <a:lnTo>
                  <a:pt x="0" y="16511"/>
                </a:lnTo>
                <a:lnTo>
                  <a:pt x="423" y="16764"/>
                </a:lnTo>
                <a:lnTo>
                  <a:pt x="1015" y="17145"/>
                </a:lnTo>
                <a:cubicBezTo>
                  <a:pt x="1333" y="17335"/>
                  <a:pt x="1650" y="17526"/>
                  <a:pt x="2052" y="17822"/>
                </a:cubicBezTo>
                <a:lnTo>
                  <a:pt x="2327" y="17991"/>
                </a:lnTo>
                <a:cubicBezTo>
                  <a:pt x="2432" y="18076"/>
                  <a:pt x="2559" y="18160"/>
                  <a:pt x="2686" y="18224"/>
                </a:cubicBezTo>
                <a:cubicBezTo>
                  <a:pt x="3152" y="18562"/>
                  <a:pt x="3659" y="18922"/>
                  <a:pt x="4188" y="19302"/>
                </a:cubicBezTo>
                <a:cubicBezTo>
                  <a:pt x="4801" y="19767"/>
                  <a:pt x="5457" y="20254"/>
                  <a:pt x="6112" y="20762"/>
                </a:cubicBezTo>
                <a:lnTo>
                  <a:pt x="6155" y="20804"/>
                </a:lnTo>
                <a:cubicBezTo>
                  <a:pt x="6726" y="21248"/>
                  <a:pt x="7276" y="21692"/>
                  <a:pt x="7847" y="22136"/>
                </a:cubicBezTo>
                <a:lnTo>
                  <a:pt x="8206" y="22411"/>
                </a:lnTo>
                <a:lnTo>
                  <a:pt x="8375" y="21967"/>
                </a:lnTo>
                <a:cubicBezTo>
                  <a:pt x="8862" y="20698"/>
                  <a:pt x="9475" y="19471"/>
                  <a:pt x="10173" y="18308"/>
                </a:cubicBezTo>
                <a:cubicBezTo>
                  <a:pt x="13279" y="13268"/>
                  <a:pt x="17766" y="10710"/>
                  <a:pt x="23536" y="10710"/>
                </a:cubicBezTo>
                <a:cubicBezTo>
                  <a:pt x="23698" y="10710"/>
                  <a:pt x="23862" y="10712"/>
                  <a:pt x="24026" y="10716"/>
                </a:cubicBezTo>
                <a:cubicBezTo>
                  <a:pt x="33395" y="10969"/>
                  <a:pt x="38154" y="16701"/>
                  <a:pt x="40924" y="21015"/>
                </a:cubicBezTo>
                <a:lnTo>
                  <a:pt x="41094" y="21290"/>
                </a:lnTo>
                <a:lnTo>
                  <a:pt x="41390" y="21121"/>
                </a:lnTo>
                <a:cubicBezTo>
                  <a:pt x="41876" y="20846"/>
                  <a:pt x="42341" y="20550"/>
                  <a:pt x="42764" y="20296"/>
                </a:cubicBezTo>
                <a:lnTo>
                  <a:pt x="42828" y="20254"/>
                </a:lnTo>
                <a:lnTo>
                  <a:pt x="42912" y="20190"/>
                </a:lnTo>
                <a:lnTo>
                  <a:pt x="43399" y="19873"/>
                </a:lnTo>
                <a:lnTo>
                  <a:pt x="43441" y="19852"/>
                </a:lnTo>
                <a:cubicBezTo>
                  <a:pt x="43716" y="19662"/>
                  <a:pt x="44012" y="19493"/>
                  <a:pt x="44287" y="19302"/>
                </a:cubicBezTo>
                <a:lnTo>
                  <a:pt x="44964" y="18837"/>
                </a:lnTo>
                <a:cubicBezTo>
                  <a:pt x="45598" y="18414"/>
                  <a:pt x="46233" y="17991"/>
                  <a:pt x="46846" y="17589"/>
                </a:cubicBezTo>
                <a:lnTo>
                  <a:pt x="47079" y="17420"/>
                </a:lnTo>
                <a:cubicBezTo>
                  <a:pt x="47227" y="17335"/>
                  <a:pt x="47375" y="17251"/>
                  <a:pt x="47523" y="17145"/>
                </a:cubicBezTo>
                <a:cubicBezTo>
                  <a:pt x="47904" y="16912"/>
                  <a:pt x="48284" y="16701"/>
                  <a:pt x="48729" y="16447"/>
                </a:cubicBezTo>
                <a:lnTo>
                  <a:pt x="49025" y="16299"/>
                </a:lnTo>
                <a:lnTo>
                  <a:pt x="48855" y="15982"/>
                </a:lnTo>
                <a:cubicBezTo>
                  <a:pt x="46867" y="12281"/>
                  <a:pt x="44287" y="8051"/>
                  <a:pt x="40269" y="4900"/>
                </a:cubicBezTo>
                <a:cubicBezTo>
                  <a:pt x="36098" y="1606"/>
                  <a:pt x="31083" y="0"/>
                  <a:pt x="2495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" name="Google Shape;16;p2"/>
          <p:cNvSpPr/>
          <p:nvPr/>
        </p:nvSpPr>
        <p:spPr>
          <a:xfrm>
            <a:off x="4614575" y="4431531"/>
            <a:ext cx="4367971" cy="1598636"/>
          </a:xfrm>
          <a:custGeom>
            <a:avLst/>
            <a:gdLst/>
            <a:ahLst/>
            <a:cxnLst/>
            <a:rect l="l" t="t" r="r" b="b"/>
            <a:pathLst>
              <a:path w="48116" h="17610" extrusionOk="0">
                <a:moveTo>
                  <a:pt x="24522" y="0"/>
                </a:moveTo>
                <a:cubicBezTo>
                  <a:pt x="24015" y="0"/>
                  <a:pt x="23498" y="12"/>
                  <a:pt x="22969" y="35"/>
                </a:cubicBezTo>
                <a:cubicBezTo>
                  <a:pt x="12712" y="479"/>
                  <a:pt x="6621" y="5935"/>
                  <a:pt x="3300" y="10419"/>
                </a:cubicBezTo>
                <a:cubicBezTo>
                  <a:pt x="2010" y="12153"/>
                  <a:pt x="910" y="14036"/>
                  <a:pt x="1" y="16024"/>
                </a:cubicBezTo>
                <a:lnTo>
                  <a:pt x="783" y="16489"/>
                </a:lnTo>
                <a:cubicBezTo>
                  <a:pt x="1354" y="16848"/>
                  <a:pt x="1904" y="17229"/>
                  <a:pt x="2475" y="17610"/>
                </a:cubicBezTo>
                <a:cubicBezTo>
                  <a:pt x="3321" y="15643"/>
                  <a:pt x="4400" y="13782"/>
                  <a:pt x="5669" y="12069"/>
                </a:cubicBezTo>
                <a:cubicBezTo>
                  <a:pt x="9962" y="6316"/>
                  <a:pt x="15821" y="3249"/>
                  <a:pt x="23096" y="2932"/>
                </a:cubicBezTo>
                <a:cubicBezTo>
                  <a:pt x="23578" y="2911"/>
                  <a:pt x="24049" y="2900"/>
                  <a:pt x="24511" y="2900"/>
                </a:cubicBezTo>
                <a:cubicBezTo>
                  <a:pt x="36845" y="2900"/>
                  <a:pt x="41932" y="10382"/>
                  <a:pt x="45662" y="17314"/>
                </a:cubicBezTo>
                <a:cubicBezTo>
                  <a:pt x="46064" y="17039"/>
                  <a:pt x="46487" y="16764"/>
                  <a:pt x="46910" y="16489"/>
                </a:cubicBezTo>
                <a:cubicBezTo>
                  <a:pt x="47333" y="16235"/>
                  <a:pt x="47693" y="16024"/>
                  <a:pt x="48116" y="15791"/>
                </a:cubicBezTo>
                <a:cubicBezTo>
                  <a:pt x="44178" y="8466"/>
                  <a:pt x="38370" y="0"/>
                  <a:pt x="2452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2"/>
          <p:cNvSpPr/>
          <p:nvPr/>
        </p:nvSpPr>
        <p:spPr>
          <a:xfrm>
            <a:off x="4779704" y="4624073"/>
            <a:ext cx="4031993" cy="1515572"/>
          </a:xfrm>
          <a:custGeom>
            <a:avLst/>
            <a:gdLst/>
            <a:ahLst/>
            <a:cxnLst/>
            <a:rect l="l" t="t" r="r" b="b"/>
            <a:pathLst>
              <a:path w="44415" h="16695" extrusionOk="0">
                <a:moveTo>
                  <a:pt x="21781" y="0"/>
                </a:moveTo>
                <a:cubicBezTo>
                  <a:pt x="21559" y="0"/>
                  <a:pt x="21334" y="3"/>
                  <a:pt x="21108" y="8"/>
                </a:cubicBezTo>
                <a:cubicBezTo>
                  <a:pt x="11485" y="198"/>
                  <a:pt x="5880" y="5422"/>
                  <a:pt x="2877" y="9778"/>
                </a:cubicBezTo>
                <a:cubicBezTo>
                  <a:pt x="1735" y="11428"/>
                  <a:pt x="783" y="13205"/>
                  <a:pt x="1" y="15045"/>
                </a:cubicBezTo>
                <a:cubicBezTo>
                  <a:pt x="804" y="15573"/>
                  <a:pt x="1587" y="16123"/>
                  <a:pt x="2348" y="16694"/>
                </a:cubicBezTo>
                <a:cubicBezTo>
                  <a:pt x="3088" y="14854"/>
                  <a:pt x="4019" y="13099"/>
                  <a:pt x="5161" y="11470"/>
                </a:cubicBezTo>
                <a:cubicBezTo>
                  <a:pt x="9031" y="5887"/>
                  <a:pt x="14467" y="3011"/>
                  <a:pt x="21298" y="2863"/>
                </a:cubicBezTo>
                <a:cubicBezTo>
                  <a:pt x="21493" y="2859"/>
                  <a:pt x="21685" y="2857"/>
                  <a:pt x="21876" y="2857"/>
                </a:cubicBezTo>
                <a:cubicBezTo>
                  <a:pt x="33254" y="2857"/>
                  <a:pt x="38470" y="9616"/>
                  <a:pt x="42151" y="16314"/>
                </a:cubicBezTo>
                <a:cubicBezTo>
                  <a:pt x="42913" y="15806"/>
                  <a:pt x="43653" y="15298"/>
                  <a:pt x="44414" y="14812"/>
                </a:cubicBezTo>
                <a:cubicBezTo>
                  <a:pt x="40444" y="7682"/>
                  <a:pt x="34533" y="0"/>
                  <a:pt x="217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2"/>
          <p:cNvSpPr/>
          <p:nvPr/>
        </p:nvSpPr>
        <p:spPr>
          <a:xfrm>
            <a:off x="4944830" y="4828145"/>
            <a:ext cx="3696017" cy="1430511"/>
          </a:xfrm>
          <a:custGeom>
            <a:avLst/>
            <a:gdLst/>
            <a:ahLst/>
            <a:cxnLst/>
            <a:rect l="l" t="t" r="r" b="b"/>
            <a:pathLst>
              <a:path w="40714" h="15758" extrusionOk="0">
                <a:moveTo>
                  <a:pt x="19120" y="1"/>
                </a:moveTo>
                <a:cubicBezTo>
                  <a:pt x="10215" y="1"/>
                  <a:pt x="5144" y="4998"/>
                  <a:pt x="2454" y="9201"/>
                </a:cubicBezTo>
                <a:cubicBezTo>
                  <a:pt x="1481" y="10724"/>
                  <a:pt x="656" y="12374"/>
                  <a:pt x="1" y="14066"/>
                </a:cubicBezTo>
                <a:cubicBezTo>
                  <a:pt x="762" y="14616"/>
                  <a:pt x="1502" y="15187"/>
                  <a:pt x="2242" y="15758"/>
                </a:cubicBezTo>
                <a:cubicBezTo>
                  <a:pt x="2856" y="14066"/>
                  <a:pt x="3659" y="12437"/>
                  <a:pt x="4632" y="10914"/>
                </a:cubicBezTo>
                <a:cubicBezTo>
                  <a:pt x="8116" y="5542"/>
                  <a:pt x="13078" y="2835"/>
                  <a:pt x="19395" y="2835"/>
                </a:cubicBezTo>
                <a:cubicBezTo>
                  <a:pt x="19444" y="2835"/>
                  <a:pt x="19493" y="2835"/>
                  <a:pt x="19543" y="2835"/>
                </a:cubicBezTo>
                <a:cubicBezTo>
                  <a:pt x="29779" y="2899"/>
                  <a:pt x="34961" y="8884"/>
                  <a:pt x="38619" y="15208"/>
                </a:cubicBezTo>
                <a:cubicBezTo>
                  <a:pt x="39317" y="14764"/>
                  <a:pt x="40015" y="14298"/>
                  <a:pt x="40713" y="13812"/>
                </a:cubicBezTo>
                <a:cubicBezTo>
                  <a:pt x="36737" y="6959"/>
                  <a:pt x="30858" y="86"/>
                  <a:pt x="19289" y="1"/>
                </a:cubicBezTo>
                <a:cubicBezTo>
                  <a:pt x="19233" y="1"/>
                  <a:pt x="19176" y="1"/>
                  <a:pt x="19120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2"/>
          <p:cNvSpPr/>
          <p:nvPr/>
        </p:nvSpPr>
        <p:spPr>
          <a:xfrm>
            <a:off x="5109957" y="5066439"/>
            <a:ext cx="3390724" cy="1315107"/>
          </a:xfrm>
          <a:custGeom>
            <a:avLst/>
            <a:gdLst/>
            <a:ahLst/>
            <a:cxnLst/>
            <a:rect l="l" t="t" r="r" b="b"/>
            <a:pathLst>
              <a:path w="37351" h="14305" extrusionOk="0">
                <a:moveTo>
                  <a:pt x="17314" y="1"/>
                </a:moveTo>
                <a:cubicBezTo>
                  <a:pt x="9021" y="1"/>
                  <a:pt x="4346" y="4789"/>
                  <a:pt x="1862" y="8848"/>
                </a:cubicBezTo>
                <a:cubicBezTo>
                  <a:pt x="1142" y="10053"/>
                  <a:pt x="508" y="11301"/>
                  <a:pt x="0" y="12612"/>
                </a:cubicBezTo>
                <a:lnTo>
                  <a:pt x="487" y="12993"/>
                </a:lnTo>
                <a:cubicBezTo>
                  <a:pt x="1037" y="13437"/>
                  <a:pt x="1608" y="13860"/>
                  <a:pt x="2179" y="14304"/>
                </a:cubicBezTo>
                <a:cubicBezTo>
                  <a:pt x="2665" y="13014"/>
                  <a:pt x="3279" y="11787"/>
                  <a:pt x="3998" y="10603"/>
                </a:cubicBezTo>
                <a:cubicBezTo>
                  <a:pt x="7156" y="5455"/>
                  <a:pt x="11726" y="2834"/>
                  <a:pt x="17592" y="2834"/>
                </a:cubicBezTo>
                <a:cubicBezTo>
                  <a:pt x="17776" y="2834"/>
                  <a:pt x="17961" y="2836"/>
                  <a:pt x="18147" y="2841"/>
                </a:cubicBezTo>
                <a:cubicBezTo>
                  <a:pt x="26818" y="3053"/>
                  <a:pt x="31788" y="7811"/>
                  <a:pt x="35320" y="13289"/>
                </a:cubicBezTo>
                <a:cubicBezTo>
                  <a:pt x="35785" y="13014"/>
                  <a:pt x="36251" y="12739"/>
                  <a:pt x="36673" y="12464"/>
                </a:cubicBezTo>
                <a:cubicBezTo>
                  <a:pt x="36906" y="12316"/>
                  <a:pt x="37139" y="12168"/>
                  <a:pt x="37350" y="12020"/>
                </a:cubicBezTo>
                <a:cubicBezTo>
                  <a:pt x="33480" y="5908"/>
                  <a:pt x="27812" y="282"/>
                  <a:pt x="17851" y="7"/>
                </a:cubicBezTo>
                <a:cubicBezTo>
                  <a:pt x="17670" y="3"/>
                  <a:pt x="17491" y="1"/>
                  <a:pt x="17314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0" name="Google Shape;20;p2"/>
          <p:cNvSpPr/>
          <p:nvPr/>
        </p:nvSpPr>
        <p:spPr>
          <a:xfrm>
            <a:off x="-804400" y="5056741"/>
            <a:ext cx="7797005" cy="1986148"/>
          </a:xfrm>
          <a:custGeom>
            <a:avLst/>
            <a:gdLst/>
            <a:ahLst/>
            <a:cxnLst/>
            <a:rect l="l" t="t" r="r" b="b"/>
            <a:pathLst>
              <a:path w="49766" h="12677" extrusionOk="0">
                <a:moveTo>
                  <a:pt x="13886" y="0"/>
                </a:moveTo>
                <a:cubicBezTo>
                  <a:pt x="3627" y="0"/>
                  <a:pt x="1" y="1911"/>
                  <a:pt x="1" y="1911"/>
                </a:cubicBezTo>
                <a:lnTo>
                  <a:pt x="1" y="12676"/>
                </a:lnTo>
                <a:lnTo>
                  <a:pt x="49765" y="12676"/>
                </a:lnTo>
                <a:lnTo>
                  <a:pt x="49765" y="5422"/>
                </a:lnTo>
                <a:cubicBezTo>
                  <a:pt x="49765" y="5422"/>
                  <a:pt x="46952" y="3222"/>
                  <a:pt x="27474" y="896"/>
                </a:cubicBezTo>
                <a:cubicBezTo>
                  <a:pt x="22017" y="241"/>
                  <a:pt x="17532" y="0"/>
                  <a:pt x="13886" y="0"/>
                </a:cubicBezTo>
                <a:close/>
              </a:path>
            </a:pathLst>
          </a:custGeom>
          <a:solidFill>
            <a:srgbClr val="89B98A"/>
          </a:solidFill>
          <a:ln w="1143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" name="Google Shape;21;p2"/>
          <p:cNvSpPr/>
          <p:nvPr/>
        </p:nvSpPr>
        <p:spPr>
          <a:xfrm>
            <a:off x="-695042" y="5137427"/>
            <a:ext cx="172497" cy="183308"/>
          </a:xfrm>
          <a:custGeom>
            <a:avLst/>
            <a:gdLst/>
            <a:ahLst/>
            <a:cxnLst/>
            <a:rect l="l" t="t" r="r" b="b"/>
            <a:pathLst>
              <a:path w="1101" h="1170" extrusionOk="0">
                <a:moveTo>
                  <a:pt x="659" y="0"/>
                </a:moveTo>
                <a:cubicBezTo>
                  <a:pt x="603" y="0"/>
                  <a:pt x="551" y="21"/>
                  <a:pt x="508" y="64"/>
                </a:cubicBezTo>
                <a:cubicBezTo>
                  <a:pt x="445" y="127"/>
                  <a:pt x="424" y="233"/>
                  <a:pt x="445" y="317"/>
                </a:cubicBezTo>
                <a:cubicBezTo>
                  <a:pt x="445" y="487"/>
                  <a:pt x="487" y="656"/>
                  <a:pt x="529" y="825"/>
                </a:cubicBezTo>
                <a:lnTo>
                  <a:pt x="170" y="487"/>
                </a:lnTo>
                <a:cubicBezTo>
                  <a:pt x="149" y="444"/>
                  <a:pt x="128" y="444"/>
                  <a:pt x="85" y="423"/>
                </a:cubicBezTo>
                <a:cubicBezTo>
                  <a:pt x="43" y="423"/>
                  <a:pt x="1" y="465"/>
                  <a:pt x="1" y="529"/>
                </a:cubicBezTo>
                <a:cubicBezTo>
                  <a:pt x="1" y="571"/>
                  <a:pt x="1" y="614"/>
                  <a:pt x="43" y="656"/>
                </a:cubicBezTo>
                <a:cubicBezTo>
                  <a:pt x="106" y="825"/>
                  <a:pt x="212" y="973"/>
                  <a:pt x="360" y="1100"/>
                </a:cubicBezTo>
                <a:cubicBezTo>
                  <a:pt x="395" y="1135"/>
                  <a:pt x="429" y="1169"/>
                  <a:pt x="475" y="1169"/>
                </a:cubicBezTo>
                <a:cubicBezTo>
                  <a:pt x="486" y="1169"/>
                  <a:pt x="497" y="1167"/>
                  <a:pt x="508" y="1163"/>
                </a:cubicBezTo>
                <a:lnTo>
                  <a:pt x="1079" y="1015"/>
                </a:lnTo>
                <a:cubicBezTo>
                  <a:pt x="1100" y="783"/>
                  <a:pt x="1079" y="550"/>
                  <a:pt x="995" y="317"/>
                </a:cubicBezTo>
                <a:cubicBezTo>
                  <a:pt x="952" y="212"/>
                  <a:pt x="910" y="127"/>
                  <a:pt x="825" y="64"/>
                </a:cubicBezTo>
                <a:cubicBezTo>
                  <a:pt x="773" y="21"/>
                  <a:pt x="714" y="0"/>
                  <a:pt x="659" y="0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" name="Google Shape;22;p2"/>
          <p:cNvSpPr/>
          <p:nvPr/>
        </p:nvSpPr>
        <p:spPr>
          <a:xfrm>
            <a:off x="-310723" y="6460064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3" name="Google Shape;23;p2"/>
          <p:cNvSpPr/>
          <p:nvPr/>
        </p:nvSpPr>
        <p:spPr>
          <a:xfrm>
            <a:off x="-575657" y="6572869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2"/>
          <p:cNvSpPr/>
          <p:nvPr/>
        </p:nvSpPr>
        <p:spPr>
          <a:xfrm>
            <a:off x="-446558" y="6502523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2"/>
          <p:cNvSpPr/>
          <p:nvPr/>
        </p:nvSpPr>
        <p:spPr>
          <a:xfrm>
            <a:off x="-429950" y="5788876"/>
            <a:ext cx="102935" cy="160433"/>
          </a:xfrm>
          <a:custGeom>
            <a:avLst/>
            <a:gdLst/>
            <a:ahLst/>
            <a:cxnLst/>
            <a:rect l="l" t="t" r="r" b="b"/>
            <a:pathLst>
              <a:path w="657" h="1024" extrusionOk="0">
                <a:moveTo>
                  <a:pt x="166" y="1"/>
                </a:moveTo>
                <a:cubicBezTo>
                  <a:pt x="146" y="1"/>
                  <a:pt x="126" y="4"/>
                  <a:pt x="106" y="9"/>
                </a:cubicBezTo>
                <a:cubicBezTo>
                  <a:pt x="43" y="51"/>
                  <a:pt x="1" y="136"/>
                  <a:pt x="43" y="199"/>
                </a:cubicBezTo>
                <a:lnTo>
                  <a:pt x="339" y="939"/>
                </a:lnTo>
                <a:cubicBezTo>
                  <a:pt x="360" y="981"/>
                  <a:pt x="424" y="1024"/>
                  <a:pt x="487" y="1024"/>
                </a:cubicBezTo>
                <a:cubicBezTo>
                  <a:pt x="508" y="1024"/>
                  <a:pt x="529" y="1024"/>
                  <a:pt x="550" y="1003"/>
                </a:cubicBezTo>
                <a:cubicBezTo>
                  <a:pt x="614" y="981"/>
                  <a:pt x="656" y="897"/>
                  <a:pt x="614" y="812"/>
                </a:cubicBezTo>
                <a:lnTo>
                  <a:pt x="318" y="93"/>
                </a:lnTo>
                <a:cubicBezTo>
                  <a:pt x="286" y="29"/>
                  <a:pt x="229" y="1"/>
                  <a:pt x="166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" name="Google Shape;26;p2"/>
          <p:cNvSpPr/>
          <p:nvPr/>
        </p:nvSpPr>
        <p:spPr>
          <a:xfrm>
            <a:off x="-300695" y="5722132"/>
            <a:ext cx="56716" cy="201325"/>
          </a:xfrm>
          <a:custGeom>
            <a:avLst/>
            <a:gdLst/>
            <a:ahLst/>
            <a:cxnLst/>
            <a:rect l="l" t="t" r="r" b="b"/>
            <a:pathLst>
              <a:path w="362" h="1285" extrusionOk="0">
                <a:moveTo>
                  <a:pt x="183" y="1"/>
                </a:moveTo>
                <a:cubicBezTo>
                  <a:pt x="107" y="1"/>
                  <a:pt x="33" y="38"/>
                  <a:pt x="43" y="117"/>
                </a:cubicBezTo>
                <a:lnTo>
                  <a:pt x="0" y="1133"/>
                </a:lnTo>
                <a:cubicBezTo>
                  <a:pt x="0" y="1217"/>
                  <a:pt x="64" y="1281"/>
                  <a:pt x="148" y="1281"/>
                </a:cubicBezTo>
                <a:cubicBezTo>
                  <a:pt x="157" y="1283"/>
                  <a:pt x="166" y="1285"/>
                  <a:pt x="174" y="1285"/>
                </a:cubicBezTo>
                <a:cubicBezTo>
                  <a:pt x="233" y="1285"/>
                  <a:pt x="297" y="1227"/>
                  <a:pt x="297" y="1154"/>
                </a:cubicBezTo>
                <a:lnTo>
                  <a:pt x="339" y="139"/>
                </a:lnTo>
                <a:cubicBezTo>
                  <a:pt x="361" y="49"/>
                  <a:pt x="270" y="1"/>
                  <a:pt x="183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" name="Google Shape;27;p2"/>
          <p:cNvSpPr/>
          <p:nvPr/>
        </p:nvSpPr>
        <p:spPr>
          <a:xfrm>
            <a:off x="-786148" y="5056741"/>
            <a:ext cx="7797005" cy="1986148"/>
          </a:xfrm>
          <a:custGeom>
            <a:avLst/>
            <a:gdLst/>
            <a:ahLst/>
            <a:cxnLst/>
            <a:rect l="l" t="t" r="r" b="b"/>
            <a:pathLst>
              <a:path w="49766" h="12677" extrusionOk="0">
                <a:moveTo>
                  <a:pt x="13886" y="0"/>
                </a:moveTo>
                <a:cubicBezTo>
                  <a:pt x="3627" y="0"/>
                  <a:pt x="1" y="1911"/>
                  <a:pt x="1" y="1911"/>
                </a:cubicBezTo>
                <a:lnTo>
                  <a:pt x="1" y="12676"/>
                </a:lnTo>
                <a:lnTo>
                  <a:pt x="49765" y="12676"/>
                </a:lnTo>
                <a:lnTo>
                  <a:pt x="49765" y="5422"/>
                </a:lnTo>
                <a:cubicBezTo>
                  <a:pt x="49765" y="5422"/>
                  <a:pt x="46952" y="3222"/>
                  <a:pt x="27474" y="896"/>
                </a:cubicBezTo>
                <a:cubicBezTo>
                  <a:pt x="22017" y="241"/>
                  <a:pt x="17532" y="0"/>
                  <a:pt x="13886" y="0"/>
                </a:cubicBezTo>
                <a:close/>
              </a:path>
            </a:pathLst>
          </a:custGeom>
          <a:solidFill>
            <a:srgbClr val="30AE1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" name="Google Shape;28;p2"/>
          <p:cNvSpPr/>
          <p:nvPr/>
        </p:nvSpPr>
        <p:spPr>
          <a:xfrm>
            <a:off x="6768796" y="5710695"/>
            <a:ext cx="165760" cy="175631"/>
          </a:xfrm>
          <a:custGeom>
            <a:avLst/>
            <a:gdLst/>
            <a:ahLst/>
            <a:cxnLst/>
            <a:rect l="l" t="t" r="r" b="b"/>
            <a:pathLst>
              <a:path w="1058" h="1121" extrusionOk="0">
                <a:moveTo>
                  <a:pt x="762" y="0"/>
                </a:moveTo>
                <a:cubicBezTo>
                  <a:pt x="677" y="42"/>
                  <a:pt x="614" y="85"/>
                  <a:pt x="571" y="169"/>
                </a:cubicBezTo>
                <a:cubicBezTo>
                  <a:pt x="466" y="317"/>
                  <a:pt x="402" y="465"/>
                  <a:pt x="339" y="635"/>
                </a:cubicBezTo>
                <a:lnTo>
                  <a:pt x="254" y="127"/>
                </a:lnTo>
                <a:cubicBezTo>
                  <a:pt x="254" y="106"/>
                  <a:pt x="233" y="63"/>
                  <a:pt x="212" y="42"/>
                </a:cubicBezTo>
                <a:cubicBezTo>
                  <a:pt x="194" y="34"/>
                  <a:pt x="177" y="28"/>
                  <a:pt x="159" y="28"/>
                </a:cubicBezTo>
                <a:cubicBezTo>
                  <a:pt x="135" y="28"/>
                  <a:pt x="110" y="39"/>
                  <a:pt x="85" y="63"/>
                </a:cubicBezTo>
                <a:cubicBezTo>
                  <a:pt x="64" y="106"/>
                  <a:pt x="43" y="148"/>
                  <a:pt x="43" y="190"/>
                </a:cubicBezTo>
                <a:cubicBezTo>
                  <a:pt x="0" y="381"/>
                  <a:pt x="0" y="571"/>
                  <a:pt x="22" y="740"/>
                </a:cubicBezTo>
                <a:cubicBezTo>
                  <a:pt x="43" y="804"/>
                  <a:pt x="64" y="867"/>
                  <a:pt x="106" y="888"/>
                </a:cubicBezTo>
                <a:lnTo>
                  <a:pt x="656" y="1121"/>
                </a:lnTo>
                <a:cubicBezTo>
                  <a:pt x="825" y="952"/>
                  <a:pt x="952" y="740"/>
                  <a:pt x="1016" y="508"/>
                </a:cubicBezTo>
                <a:cubicBezTo>
                  <a:pt x="1058" y="402"/>
                  <a:pt x="1058" y="296"/>
                  <a:pt x="1037" y="190"/>
                </a:cubicBezTo>
                <a:cubicBezTo>
                  <a:pt x="994" y="63"/>
                  <a:pt x="889" y="0"/>
                  <a:pt x="762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" name="Google Shape;29;p2"/>
          <p:cNvSpPr/>
          <p:nvPr/>
        </p:nvSpPr>
        <p:spPr>
          <a:xfrm>
            <a:off x="4293515" y="5190539"/>
            <a:ext cx="162627" cy="175631"/>
          </a:xfrm>
          <a:custGeom>
            <a:avLst/>
            <a:gdLst/>
            <a:ahLst/>
            <a:cxnLst/>
            <a:rect l="l" t="t" r="r" b="b"/>
            <a:pathLst>
              <a:path w="1038" h="1121" extrusionOk="0">
                <a:moveTo>
                  <a:pt x="770" y="0"/>
                </a:moveTo>
                <a:cubicBezTo>
                  <a:pt x="735" y="0"/>
                  <a:pt x="697" y="7"/>
                  <a:pt x="656" y="21"/>
                </a:cubicBezTo>
                <a:cubicBezTo>
                  <a:pt x="593" y="63"/>
                  <a:pt x="530" y="148"/>
                  <a:pt x="508" y="232"/>
                </a:cubicBezTo>
                <a:cubicBezTo>
                  <a:pt x="466" y="401"/>
                  <a:pt x="445" y="571"/>
                  <a:pt x="424" y="740"/>
                </a:cubicBezTo>
                <a:cubicBezTo>
                  <a:pt x="360" y="592"/>
                  <a:pt x="276" y="444"/>
                  <a:pt x="212" y="296"/>
                </a:cubicBezTo>
                <a:cubicBezTo>
                  <a:pt x="191" y="253"/>
                  <a:pt x="170" y="232"/>
                  <a:pt x="149" y="211"/>
                </a:cubicBezTo>
                <a:cubicBezTo>
                  <a:pt x="138" y="205"/>
                  <a:pt x="126" y="203"/>
                  <a:pt x="115" y="203"/>
                </a:cubicBezTo>
                <a:cubicBezTo>
                  <a:pt x="85" y="203"/>
                  <a:pt x="59" y="222"/>
                  <a:pt x="43" y="253"/>
                </a:cubicBezTo>
                <a:cubicBezTo>
                  <a:pt x="22" y="296"/>
                  <a:pt x="1" y="359"/>
                  <a:pt x="22" y="401"/>
                </a:cubicBezTo>
                <a:cubicBezTo>
                  <a:pt x="22" y="592"/>
                  <a:pt x="85" y="761"/>
                  <a:pt x="170" y="930"/>
                </a:cubicBezTo>
                <a:cubicBezTo>
                  <a:pt x="191" y="994"/>
                  <a:pt x="212" y="1057"/>
                  <a:pt x="276" y="1057"/>
                </a:cubicBezTo>
                <a:lnTo>
                  <a:pt x="847" y="1121"/>
                </a:lnTo>
                <a:cubicBezTo>
                  <a:pt x="953" y="909"/>
                  <a:pt x="1016" y="676"/>
                  <a:pt x="1037" y="444"/>
                </a:cubicBezTo>
                <a:cubicBezTo>
                  <a:pt x="1037" y="317"/>
                  <a:pt x="1016" y="211"/>
                  <a:pt x="953" y="105"/>
                </a:cubicBezTo>
                <a:cubicBezTo>
                  <a:pt x="909" y="33"/>
                  <a:pt x="846" y="0"/>
                  <a:pt x="770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2"/>
          <p:cNvSpPr/>
          <p:nvPr/>
        </p:nvSpPr>
        <p:spPr>
          <a:xfrm>
            <a:off x="3938963" y="5167195"/>
            <a:ext cx="109515" cy="139283"/>
          </a:xfrm>
          <a:custGeom>
            <a:avLst/>
            <a:gdLst/>
            <a:ahLst/>
            <a:cxnLst/>
            <a:rect l="l" t="t" r="r" b="b"/>
            <a:pathLst>
              <a:path w="699" h="889" extrusionOk="0">
                <a:moveTo>
                  <a:pt x="107" y="1"/>
                </a:moveTo>
                <a:cubicBezTo>
                  <a:pt x="64" y="1"/>
                  <a:pt x="43" y="1"/>
                  <a:pt x="22" y="43"/>
                </a:cubicBezTo>
                <a:cubicBezTo>
                  <a:pt x="22" y="64"/>
                  <a:pt x="1" y="106"/>
                  <a:pt x="22" y="127"/>
                </a:cubicBezTo>
                <a:cubicBezTo>
                  <a:pt x="1" y="360"/>
                  <a:pt x="64" y="572"/>
                  <a:pt x="191" y="741"/>
                </a:cubicBezTo>
                <a:lnTo>
                  <a:pt x="508" y="889"/>
                </a:lnTo>
                <a:lnTo>
                  <a:pt x="593" y="656"/>
                </a:lnTo>
                <a:cubicBezTo>
                  <a:pt x="635" y="572"/>
                  <a:pt x="656" y="466"/>
                  <a:pt x="678" y="360"/>
                </a:cubicBezTo>
                <a:cubicBezTo>
                  <a:pt x="699" y="254"/>
                  <a:pt x="678" y="170"/>
                  <a:pt x="635" y="64"/>
                </a:cubicBezTo>
                <a:cubicBezTo>
                  <a:pt x="614" y="64"/>
                  <a:pt x="614" y="43"/>
                  <a:pt x="593" y="43"/>
                </a:cubicBezTo>
                <a:cubicBezTo>
                  <a:pt x="582" y="37"/>
                  <a:pt x="570" y="35"/>
                  <a:pt x="559" y="35"/>
                </a:cubicBezTo>
                <a:cubicBezTo>
                  <a:pt x="528" y="35"/>
                  <a:pt x="497" y="54"/>
                  <a:pt x="466" y="85"/>
                </a:cubicBezTo>
                <a:cubicBezTo>
                  <a:pt x="381" y="170"/>
                  <a:pt x="339" y="275"/>
                  <a:pt x="318" y="402"/>
                </a:cubicBezTo>
                <a:cubicBezTo>
                  <a:pt x="276" y="297"/>
                  <a:pt x="233" y="191"/>
                  <a:pt x="191" y="85"/>
                </a:cubicBezTo>
                <a:cubicBezTo>
                  <a:pt x="170" y="43"/>
                  <a:pt x="149" y="1"/>
                  <a:pt x="107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2"/>
          <p:cNvSpPr/>
          <p:nvPr/>
        </p:nvSpPr>
        <p:spPr>
          <a:xfrm>
            <a:off x="-676789" y="5137427"/>
            <a:ext cx="172497" cy="183308"/>
          </a:xfrm>
          <a:custGeom>
            <a:avLst/>
            <a:gdLst/>
            <a:ahLst/>
            <a:cxnLst/>
            <a:rect l="l" t="t" r="r" b="b"/>
            <a:pathLst>
              <a:path w="1101" h="1170" extrusionOk="0">
                <a:moveTo>
                  <a:pt x="659" y="0"/>
                </a:moveTo>
                <a:cubicBezTo>
                  <a:pt x="603" y="0"/>
                  <a:pt x="551" y="21"/>
                  <a:pt x="508" y="64"/>
                </a:cubicBezTo>
                <a:cubicBezTo>
                  <a:pt x="445" y="127"/>
                  <a:pt x="424" y="233"/>
                  <a:pt x="445" y="317"/>
                </a:cubicBezTo>
                <a:cubicBezTo>
                  <a:pt x="445" y="487"/>
                  <a:pt x="487" y="656"/>
                  <a:pt x="529" y="825"/>
                </a:cubicBezTo>
                <a:lnTo>
                  <a:pt x="170" y="487"/>
                </a:lnTo>
                <a:cubicBezTo>
                  <a:pt x="149" y="444"/>
                  <a:pt x="128" y="444"/>
                  <a:pt x="85" y="423"/>
                </a:cubicBezTo>
                <a:cubicBezTo>
                  <a:pt x="43" y="423"/>
                  <a:pt x="1" y="465"/>
                  <a:pt x="1" y="529"/>
                </a:cubicBezTo>
                <a:cubicBezTo>
                  <a:pt x="1" y="571"/>
                  <a:pt x="1" y="614"/>
                  <a:pt x="43" y="656"/>
                </a:cubicBezTo>
                <a:cubicBezTo>
                  <a:pt x="106" y="825"/>
                  <a:pt x="212" y="973"/>
                  <a:pt x="360" y="1100"/>
                </a:cubicBezTo>
                <a:cubicBezTo>
                  <a:pt x="395" y="1135"/>
                  <a:pt x="429" y="1169"/>
                  <a:pt x="475" y="1169"/>
                </a:cubicBezTo>
                <a:cubicBezTo>
                  <a:pt x="486" y="1169"/>
                  <a:pt x="497" y="1167"/>
                  <a:pt x="508" y="1163"/>
                </a:cubicBezTo>
                <a:lnTo>
                  <a:pt x="1079" y="1015"/>
                </a:lnTo>
                <a:cubicBezTo>
                  <a:pt x="1100" y="783"/>
                  <a:pt x="1079" y="550"/>
                  <a:pt x="995" y="317"/>
                </a:cubicBezTo>
                <a:cubicBezTo>
                  <a:pt x="952" y="212"/>
                  <a:pt x="910" y="127"/>
                  <a:pt x="825" y="64"/>
                </a:cubicBezTo>
                <a:cubicBezTo>
                  <a:pt x="773" y="21"/>
                  <a:pt x="714" y="0"/>
                  <a:pt x="659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" name="Google Shape;32;p2"/>
          <p:cNvSpPr/>
          <p:nvPr/>
        </p:nvSpPr>
        <p:spPr>
          <a:xfrm>
            <a:off x="4399582" y="6463353"/>
            <a:ext cx="652857" cy="303320"/>
          </a:xfrm>
          <a:custGeom>
            <a:avLst/>
            <a:gdLst/>
            <a:ahLst/>
            <a:cxnLst/>
            <a:rect l="l" t="t" r="r" b="b"/>
            <a:pathLst>
              <a:path w="4167" h="1936" extrusionOk="0">
                <a:moveTo>
                  <a:pt x="1866" y="0"/>
                </a:moveTo>
                <a:cubicBezTo>
                  <a:pt x="1359" y="0"/>
                  <a:pt x="855" y="102"/>
                  <a:pt x="381" y="314"/>
                </a:cubicBezTo>
                <a:cubicBezTo>
                  <a:pt x="297" y="335"/>
                  <a:pt x="233" y="378"/>
                  <a:pt x="170" y="441"/>
                </a:cubicBezTo>
                <a:cubicBezTo>
                  <a:pt x="1" y="631"/>
                  <a:pt x="149" y="949"/>
                  <a:pt x="339" y="1118"/>
                </a:cubicBezTo>
                <a:cubicBezTo>
                  <a:pt x="868" y="1628"/>
                  <a:pt x="1935" y="1935"/>
                  <a:pt x="2730" y="1935"/>
                </a:cubicBezTo>
                <a:cubicBezTo>
                  <a:pt x="2826" y="1935"/>
                  <a:pt x="2918" y="1931"/>
                  <a:pt x="3004" y="1922"/>
                </a:cubicBezTo>
                <a:cubicBezTo>
                  <a:pt x="4167" y="1773"/>
                  <a:pt x="3892" y="420"/>
                  <a:pt x="2919" y="145"/>
                </a:cubicBezTo>
                <a:cubicBezTo>
                  <a:pt x="2572" y="50"/>
                  <a:pt x="2218" y="0"/>
                  <a:pt x="1866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" name="Google Shape;33;p2"/>
          <p:cNvSpPr/>
          <p:nvPr/>
        </p:nvSpPr>
        <p:spPr>
          <a:xfrm>
            <a:off x="5002618" y="6276130"/>
            <a:ext cx="473937" cy="231093"/>
          </a:xfrm>
          <a:custGeom>
            <a:avLst/>
            <a:gdLst/>
            <a:ahLst/>
            <a:cxnLst/>
            <a:rect l="l" t="t" r="r" b="b"/>
            <a:pathLst>
              <a:path w="3025" h="1475" extrusionOk="0">
                <a:moveTo>
                  <a:pt x="1287" y="0"/>
                </a:moveTo>
                <a:cubicBezTo>
                  <a:pt x="1225" y="0"/>
                  <a:pt x="1163" y="3"/>
                  <a:pt x="1101" y="8"/>
                </a:cubicBezTo>
                <a:cubicBezTo>
                  <a:pt x="762" y="8"/>
                  <a:pt x="445" y="134"/>
                  <a:pt x="191" y="367"/>
                </a:cubicBezTo>
                <a:cubicBezTo>
                  <a:pt x="64" y="494"/>
                  <a:pt x="1" y="705"/>
                  <a:pt x="43" y="896"/>
                </a:cubicBezTo>
                <a:cubicBezTo>
                  <a:pt x="188" y="1286"/>
                  <a:pt x="794" y="1474"/>
                  <a:pt x="1402" y="1474"/>
                </a:cubicBezTo>
                <a:cubicBezTo>
                  <a:pt x="2211" y="1474"/>
                  <a:pt x="3025" y="1143"/>
                  <a:pt x="2771" y="515"/>
                </a:cubicBezTo>
                <a:cubicBezTo>
                  <a:pt x="2750" y="452"/>
                  <a:pt x="2708" y="431"/>
                  <a:pt x="2666" y="388"/>
                </a:cubicBezTo>
                <a:cubicBezTo>
                  <a:pt x="2253" y="144"/>
                  <a:pt x="1774" y="0"/>
                  <a:pt x="1287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" name="Google Shape;34;p2"/>
          <p:cNvSpPr/>
          <p:nvPr/>
        </p:nvSpPr>
        <p:spPr>
          <a:xfrm>
            <a:off x="-292470" y="6460064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" name="Google Shape;35;p2"/>
          <p:cNvSpPr/>
          <p:nvPr/>
        </p:nvSpPr>
        <p:spPr>
          <a:xfrm>
            <a:off x="314012" y="6651205"/>
            <a:ext cx="760963" cy="323531"/>
          </a:xfrm>
          <a:custGeom>
            <a:avLst/>
            <a:gdLst/>
            <a:ahLst/>
            <a:cxnLst/>
            <a:rect l="l" t="t" r="r" b="b"/>
            <a:pathLst>
              <a:path w="4857" h="2065" extrusionOk="0">
                <a:moveTo>
                  <a:pt x="2199" y="1"/>
                </a:moveTo>
                <a:cubicBezTo>
                  <a:pt x="1526" y="1"/>
                  <a:pt x="856" y="228"/>
                  <a:pt x="318" y="680"/>
                </a:cubicBezTo>
                <a:cubicBezTo>
                  <a:pt x="127" y="807"/>
                  <a:pt x="21" y="997"/>
                  <a:pt x="0" y="1209"/>
                </a:cubicBezTo>
                <a:cubicBezTo>
                  <a:pt x="21" y="1420"/>
                  <a:pt x="148" y="1611"/>
                  <a:pt x="339" y="1695"/>
                </a:cubicBezTo>
                <a:cubicBezTo>
                  <a:pt x="805" y="1995"/>
                  <a:pt x="1340" y="2050"/>
                  <a:pt x="1885" y="2050"/>
                </a:cubicBezTo>
                <a:cubicBezTo>
                  <a:pt x="2202" y="2050"/>
                  <a:pt x="2523" y="2031"/>
                  <a:pt x="2835" y="2031"/>
                </a:cubicBezTo>
                <a:cubicBezTo>
                  <a:pt x="3007" y="2031"/>
                  <a:pt x="3177" y="2037"/>
                  <a:pt x="3342" y="2055"/>
                </a:cubicBezTo>
                <a:cubicBezTo>
                  <a:pt x="3395" y="2061"/>
                  <a:pt x="3448" y="2064"/>
                  <a:pt x="3499" y="2064"/>
                </a:cubicBezTo>
                <a:cubicBezTo>
                  <a:pt x="4323" y="2064"/>
                  <a:pt x="4856" y="1295"/>
                  <a:pt x="4040" y="638"/>
                </a:cubicBezTo>
                <a:cubicBezTo>
                  <a:pt x="3500" y="212"/>
                  <a:pt x="2848" y="1"/>
                  <a:pt x="2199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" name="Google Shape;36;p2"/>
          <p:cNvSpPr/>
          <p:nvPr/>
        </p:nvSpPr>
        <p:spPr>
          <a:xfrm>
            <a:off x="-557403" y="6572869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2"/>
          <p:cNvSpPr/>
          <p:nvPr/>
        </p:nvSpPr>
        <p:spPr>
          <a:xfrm>
            <a:off x="-428305" y="6502523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2"/>
          <p:cNvSpPr/>
          <p:nvPr/>
        </p:nvSpPr>
        <p:spPr>
          <a:xfrm>
            <a:off x="1512249" y="6843131"/>
            <a:ext cx="97451" cy="153227"/>
          </a:xfrm>
          <a:custGeom>
            <a:avLst/>
            <a:gdLst/>
            <a:ahLst/>
            <a:cxnLst/>
            <a:rect l="l" t="t" r="r" b="b"/>
            <a:pathLst>
              <a:path w="622" h="978" extrusionOk="0">
                <a:moveTo>
                  <a:pt x="170" y="0"/>
                </a:moveTo>
                <a:cubicBezTo>
                  <a:pt x="82" y="0"/>
                  <a:pt x="0" y="72"/>
                  <a:pt x="30" y="174"/>
                </a:cubicBezTo>
                <a:lnTo>
                  <a:pt x="326" y="893"/>
                </a:lnTo>
                <a:cubicBezTo>
                  <a:pt x="368" y="957"/>
                  <a:pt x="410" y="978"/>
                  <a:pt x="474" y="978"/>
                </a:cubicBezTo>
                <a:lnTo>
                  <a:pt x="516" y="978"/>
                </a:lnTo>
                <a:cubicBezTo>
                  <a:pt x="601" y="936"/>
                  <a:pt x="622" y="851"/>
                  <a:pt x="601" y="788"/>
                </a:cubicBezTo>
                <a:lnTo>
                  <a:pt x="283" y="47"/>
                </a:lnTo>
                <a:cubicBezTo>
                  <a:pt x="251" y="15"/>
                  <a:pt x="210" y="0"/>
                  <a:pt x="17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" name="Google Shape;39;p2"/>
          <p:cNvSpPr/>
          <p:nvPr/>
        </p:nvSpPr>
        <p:spPr>
          <a:xfrm>
            <a:off x="1636022" y="6767614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64" y="64"/>
                  <a:pt x="64" y="149"/>
                </a:cubicBezTo>
                <a:lnTo>
                  <a:pt x="22" y="1143"/>
                </a:lnTo>
                <a:cubicBezTo>
                  <a:pt x="1" y="1227"/>
                  <a:pt x="64" y="1312"/>
                  <a:pt x="149" y="1312"/>
                </a:cubicBezTo>
                <a:cubicBezTo>
                  <a:pt x="234" y="1312"/>
                  <a:pt x="318" y="1248"/>
                  <a:pt x="318" y="1164"/>
                </a:cubicBezTo>
                <a:lnTo>
                  <a:pt x="360" y="170"/>
                </a:lnTo>
                <a:cubicBezTo>
                  <a:pt x="360" y="85"/>
                  <a:pt x="297" y="1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" name="Google Shape;40;p2"/>
          <p:cNvSpPr/>
          <p:nvPr/>
        </p:nvSpPr>
        <p:spPr>
          <a:xfrm>
            <a:off x="-411698" y="5788876"/>
            <a:ext cx="102935" cy="160433"/>
          </a:xfrm>
          <a:custGeom>
            <a:avLst/>
            <a:gdLst/>
            <a:ahLst/>
            <a:cxnLst/>
            <a:rect l="l" t="t" r="r" b="b"/>
            <a:pathLst>
              <a:path w="657" h="1024" extrusionOk="0">
                <a:moveTo>
                  <a:pt x="166" y="1"/>
                </a:moveTo>
                <a:cubicBezTo>
                  <a:pt x="146" y="1"/>
                  <a:pt x="126" y="4"/>
                  <a:pt x="106" y="9"/>
                </a:cubicBezTo>
                <a:cubicBezTo>
                  <a:pt x="43" y="51"/>
                  <a:pt x="1" y="136"/>
                  <a:pt x="43" y="199"/>
                </a:cubicBezTo>
                <a:lnTo>
                  <a:pt x="339" y="939"/>
                </a:lnTo>
                <a:cubicBezTo>
                  <a:pt x="360" y="981"/>
                  <a:pt x="424" y="1024"/>
                  <a:pt x="487" y="1024"/>
                </a:cubicBezTo>
                <a:cubicBezTo>
                  <a:pt x="508" y="1024"/>
                  <a:pt x="529" y="1024"/>
                  <a:pt x="550" y="1003"/>
                </a:cubicBezTo>
                <a:cubicBezTo>
                  <a:pt x="614" y="981"/>
                  <a:pt x="656" y="897"/>
                  <a:pt x="614" y="812"/>
                </a:cubicBezTo>
                <a:lnTo>
                  <a:pt x="318" y="93"/>
                </a:lnTo>
                <a:cubicBezTo>
                  <a:pt x="286" y="29"/>
                  <a:pt x="229" y="1"/>
                  <a:pt x="16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1" name="Google Shape;41;p2"/>
          <p:cNvSpPr/>
          <p:nvPr/>
        </p:nvSpPr>
        <p:spPr>
          <a:xfrm>
            <a:off x="-282442" y="5722132"/>
            <a:ext cx="56716" cy="201325"/>
          </a:xfrm>
          <a:custGeom>
            <a:avLst/>
            <a:gdLst/>
            <a:ahLst/>
            <a:cxnLst/>
            <a:rect l="l" t="t" r="r" b="b"/>
            <a:pathLst>
              <a:path w="362" h="1285" extrusionOk="0">
                <a:moveTo>
                  <a:pt x="183" y="1"/>
                </a:moveTo>
                <a:cubicBezTo>
                  <a:pt x="107" y="1"/>
                  <a:pt x="33" y="38"/>
                  <a:pt x="43" y="117"/>
                </a:cubicBezTo>
                <a:lnTo>
                  <a:pt x="0" y="1133"/>
                </a:lnTo>
                <a:cubicBezTo>
                  <a:pt x="0" y="1217"/>
                  <a:pt x="64" y="1281"/>
                  <a:pt x="148" y="1281"/>
                </a:cubicBezTo>
                <a:cubicBezTo>
                  <a:pt x="157" y="1283"/>
                  <a:pt x="166" y="1285"/>
                  <a:pt x="174" y="1285"/>
                </a:cubicBezTo>
                <a:cubicBezTo>
                  <a:pt x="233" y="1285"/>
                  <a:pt x="297" y="1227"/>
                  <a:pt x="297" y="1154"/>
                </a:cubicBezTo>
                <a:lnTo>
                  <a:pt x="339" y="139"/>
                </a:lnTo>
                <a:cubicBezTo>
                  <a:pt x="361" y="49"/>
                  <a:pt x="270" y="1"/>
                  <a:pt x="18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2" name="Google Shape;42;p2"/>
          <p:cNvSpPr/>
          <p:nvPr/>
        </p:nvSpPr>
        <p:spPr>
          <a:xfrm>
            <a:off x="4386266" y="5618571"/>
            <a:ext cx="102935" cy="161844"/>
          </a:xfrm>
          <a:custGeom>
            <a:avLst/>
            <a:gdLst/>
            <a:ahLst/>
            <a:cxnLst/>
            <a:rect l="l" t="t" r="r" b="b"/>
            <a:pathLst>
              <a:path w="657" h="1033" extrusionOk="0">
                <a:moveTo>
                  <a:pt x="484" y="0"/>
                </a:moveTo>
                <a:cubicBezTo>
                  <a:pt x="425" y="0"/>
                  <a:pt x="376" y="40"/>
                  <a:pt x="361" y="102"/>
                </a:cubicBezTo>
                <a:lnTo>
                  <a:pt x="43" y="821"/>
                </a:lnTo>
                <a:cubicBezTo>
                  <a:pt x="1" y="884"/>
                  <a:pt x="43" y="990"/>
                  <a:pt x="128" y="1011"/>
                </a:cubicBezTo>
                <a:cubicBezTo>
                  <a:pt x="128" y="1032"/>
                  <a:pt x="149" y="1032"/>
                  <a:pt x="170" y="1032"/>
                </a:cubicBezTo>
                <a:cubicBezTo>
                  <a:pt x="234" y="1032"/>
                  <a:pt x="297" y="990"/>
                  <a:pt x="318" y="926"/>
                </a:cubicBezTo>
                <a:lnTo>
                  <a:pt x="635" y="207"/>
                </a:lnTo>
                <a:cubicBezTo>
                  <a:pt x="657" y="144"/>
                  <a:pt x="635" y="59"/>
                  <a:pt x="551" y="17"/>
                </a:cubicBezTo>
                <a:cubicBezTo>
                  <a:pt x="528" y="6"/>
                  <a:pt x="506" y="0"/>
                  <a:pt x="484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2"/>
          <p:cNvSpPr/>
          <p:nvPr/>
        </p:nvSpPr>
        <p:spPr>
          <a:xfrm>
            <a:off x="4306832" y="5551984"/>
            <a:ext cx="56403" cy="201795"/>
          </a:xfrm>
          <a:custGeom>
            <a:avLst/>
            <a:gdLst/>
            <a:ahLst/>
            <a:cxnLst/>
            <a:rect l="l" t="t" r="r" b="b"/>
            <a:pathLst>
              <a:path w="360" h="1288" extrusionOk="0">
                <a:moveTo>
                  <a:pt x="155" y="0"/>
                </a:moveTo>
                <a:cubicBezTo>
                  <a:pt x="84" y="0"/>
                  <a:pt x="11" y="48"/>
                  <a:pt x="0" y="146"/>
                </a:cubicBezTo>
                <a:lnTo>
                  <a:pt x="64" y="1140"/>
                </a:lnTo>
                <a:cubicBezTo>
                  <a:pt x="64" y="1225"/>
                  <a:pt x="127" y="1288"/>
                  <a:pt x="212" y="1288"/>
                </a:cubicBezTo>
                <a:cubicBezTo>
                  <a:pt x="296" y="1288"/>
                  <a:pt x="360" y="1225"/>
                  <a:pt x="360" y="1140"/>
                </a:cubicBezTo>
                <a:lnTo>
                  <a:pt x="296" y="125"/>
                </a:lnTo>
                <a:cubicBezTo>
                  <a:pt x="286" y="43"/>
                  <a:pt x="221" y="0"/>
                  <a:pt x="155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" name="Google Shape;44;p2"/>
          <p:cNvSpPr/>
          <p:nvPr/>
        </p:nvSpPr>
        <p:spPr>
          <a:xfrm>
            <a:off x="12395799" y="5002833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2"/>
          <p:cNvSpPr/>
          <p:nvPr/>
        </p:nvSpPr>
        <p:spPr>
          <a:xfrm>
            <a:off x="12721390" y="5017620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2"/>
          <p:cNvSpPr/>
          <p:nvPr/>
        </p:nvSpPr>
        <p:spPr>
          <a:xfrm>
            <a:off x="4999243" y="5074047"/>
            <a:ext cx="8334880" cy="2535935"/>
          </a:xfrm>
          <a:custGeom>
            <a:avLst/>
            <a:gdLst/>
            <a:ahLst/>
            <a:cxnLst/>
            <a:rect l="l" t="t" r="r" b="b"/>
            <a:pathLst>
              <a:path w="55243" h="16808" extrusionOk="0">
                <a:moveTo>
                  <a:pt x="44598" y="0"/>
                </a:moveTo>
                <a:cubicBezTo>
                  <a:pt x="40584" y="0"/>
                  <a:pt x="35338" y="325"/>
                  <a:pt x="28700" y="1326"/>
                </a:cubicBezTo>
                <a:cubicBezTo>
                  <a:pt x="9793" y="4203"/>
                  <a:pt x="1" y="12958"/>
                  <a:pt x="1" y="12958"/>
                </a:cubicBezTo>
                <a:lnTo>
                  <a:pt x="55243" y="16808"/>
                </a:lnTo>
                <a:lnTo>
                  <a:pt x="55243" y="1115"/>
                </a:lnTo>
                <a:cubicBezTo>
                  <a:pt x="55243" y="1115"/>
                  <a:pt x="52032" y="0"/>
                  <a:pt x="44598" y="0"/>
                </a:cubicBezTo>
                <a:close/>
              </a:path>
            </a:pathLst>
          </a:custGeom>
          <a:solidFill>
            <a:srgbClr val="79AD78"/>
          </a:solidFill>
          <a:ln w="1143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" name="Google Shape;47;p2"/>
          <p:cNvSpPr/>
          <p:nvPr/>
        </p:nvSpPr>
        <p:spPr>
          <a:xfrm>
            <a:off x="12264989" y="5442637"/>
            <a:ext cx="587363" cy="264788"/>
          </a:xfrm>
          <a:custGeom>
            <a:avLst/>
            <a:gdLst/>
            <a:ahLst/>
            <a:cxnLst/>
            <a:rect l="l" t="t" r="r" b="b"/>
            <a:pathLst>
              <a:path w="3893" h="1755" extrusionOk="0">
                <a:moveTo>
                  <a:pt x="2715" y="0"/>
                </a:moveTo>
                <a:cubicBezTo>
                  <a:pt x="2677" y="0"/>
                  <a:pt x="2640" y="2"/>
                  <a:pt x="2602" y="4"/>
                </a:cubicBezTo>
                <a:cubicBezTo>
                  <a:pt x="2306" y="4"/>
                  <a:pt x="2031" y="4"/>
                  <a:pt x="1735" y="25"/>
                </a:cubicBezTo>
                <a:cubicBezTo>
                  <a:pt x="1079" y="89"/>
                  <a:pt x="1" y="596"/>
                  <a:pt x="889" y="1379"/>
                </a:cubicBezTo>
                <a:cubicBezTo>
                  <a:pt x="1192" y="1647"/>
                  <a:pt x="1726" y="1755"/>
                  <a:pt x="2251" y="1755"/>
                </a:cubicBezTo>
                <a:cubicBezTo>
                  <a:pt x="2679" y="1755"/>
                  <a:pt x="3100" y="1683"/>
                  <a:pt x="3385" y="1569"/>
                </a:cubicBezTo>
                <a:cubicBezTo>
                  <a:pt x="3617" y="1464"/>
                  <a:pt x="3808" y="1252"/>
                  <a:pt x="3850" y="998"/>
                </a:cubicBezTo>
                <a:cubicBezTo>
                  <a:pt x="3892" y="660"/>
                  <a:pt x="3744" y="343"/>
                  <a:pt x="3448" y="173"/>
                </a:cubicBezTo>
                <a:cubicBezTo>
                  <a:pt x="3227" y="63"/>
                  <a:pt x="2973" y="0"/>
                  <a:pt x="2715" y="0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" name="Google Shape;48;p2"/>
          <p:cNvSpPr/>
          <p:nvPr/>
        </p:nvSpPr>
        <p:spPr>
          <a:xfrm>
            <a:off x="12692572" y="5777279"/>
            <a:ext cx="590531" cy="208663"/>
          </a:xfrm>
          <a:custGeom>
            <a:avLst/>
            <a:gdLst/>
            <a:ahLst/>
            <a:cxnLst/>
            <a:rect l="l" t="t" r="r" b="b"/>
            <a:pathLst>
              <a:path w="3914" h="1383" extrusionOk="0">
                <a:moveTo>
                  <a:pt x="1920" y="1"/>
                </a:moveTo>
                <a:cubicBezTo>
                  <a:pt x="1421" y="1"/>
                  <a:pt x="914" y="84"/>
                  <a:pt x="530" y="324"/>
                </a:cubicBezTo>
                <a:cubicBezTo>
                  <a:pt x="85" y="620"/>
                  <a:pt x="1" y="1001"/>
                  <a:pt x="487" y="1234"/>
                </a:cubicBezTo>
                <a:cubicBezTo>
                  <a:pt x="752" y="1349"/>
                  <a:pt x="1066" y="1382"/>
                  <a:pt x="1377" y="1382"/>
                </a:cubicBezTo>
                <a:cubicBezTo>
                  <a:pt x="1637" y="1382"/>
                  <a:pt x="1894" y="1359"/>
                  <a:pt x="2116" y="1339"/>
                </a:cubicBezTo>
                <a:cubicBezTo>
                  <a:pt x="2412" y="1297"/>
                  <a:pt x="3913" y="726"/>
                  <a:pt x="3194" y="176"/>
                </a:cubicBezTo>
                <a:cubicBezTo>
                  <a:pt x="3131" y="134"/>
                  <a:pt x="3067" y="113"/>
                  <a:pt x="2983" y="113"/>
                </a:cubicBezTo>
                <a:cubicBezTo>
                  <a:pt x="2672" y="49"/>
                  <a:pt x="2299" y="1"/>
                  <a:pt x="1920" y="1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" name="Google Shape;49;p2"/>
          <p:cNvSpPr/>
          <p:nvPr/>
        </p:nvSpPr>
        <p:spPr>
          <a:xfrm>
            <a:off x="13155311" y="5486994"/>
            <a:ext cx="86301" cy="167020"/>
          </a:xfrm>
          <a:custGeom>
            <a:avLst/>
            <a:gdLst/>
            <a:ahLst/>
            <a:cxnLst/>
            <a:rect l="l" t="t" r="r" b="b"/>
            <a:pathLst>
              <a:path w="572" h="1107" extrusionOk="0">
                <a:moveTo>
                  <a:pt x="423" y="1"/>
                </a:moveTo>
                <a:cubicBezTo>
                  <a:pt x="354" y="1"/>
                  <a:pt x="293" y="42"/>
                  <a:pt x="275" y="112"/>
                </a:cubicBezTo>
                <a:lnTo>
                  <a:pt x="43" y="895"/>
                </a:lnTo>
                <a:cubicBezTo>
                  <a:pt x="0" y="979"/>
                  <a:pt x="43" y="1064"/>
                  <a:pt x="127" y="1106"/>
                </a:cubicBezTo>
                <a:lnTo>
                  <a:pt x="170" y="1106"/>
                </a:lnTo>
                <a:cubicBezTo>
                  <a:pt x="233" y="1106"/>
                  <a:pt x="275" y="1064"/>
                  <a:pt x="297" y="1000"/>
                </a:cubicBezTo>
                <a:lnTo>
                  <a:pt x="550" y="218"/>
                </a:lnTo>
                <a:cubicBezTo>
                  <a:pt x="572" y="133"/>
                  <a:pt x="529" y="49"/>
                  <a:pt x="466" y="6"/>
                </a:cubicBezTo>
                <a:cubicBezTo>
                  <a:pt x="451" y="3"/>
                  <a:pt x="437" y="1"/>
                  <a:pt x="423" y="1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2"/>
          <p:cNvSpPr/>
          <p:nvPr/>
        </p:nvSpPr>
        <p:spPr>
          <a:xfrm>
            <a:off x="13072328" y="5426645"/>
            <a:ext cx="60803" cy="208209"/>
          </a:xfrm>
          <a:custGeom>
            <a:avLst/>
            <a:gdLst/>
            <a:ahLst/>
            <a:cxnLst/>
            <a:rect l="l" t="t" r="r" b="b"/>
            <a:pathLst>
              <a:path w="403" h="1380" extrusionOk="0">
                <a:moveTo>
                  <a:pt x="160" y="0"/>
                </a:moveTo>
                <a:cubicBezTo>
                  <a:pt x="149" y="0"/>
                  <a:pt x="139" y="2"/>
                  <a:pt x="127" y="5"/>
                </a:cubicBezTo>
                <a:cubicBezTo>
                  <a:pt x="43" y="5"/>
                  <a:pt x="1" y="89"/>
                  <a:pt x="1" y="174"/>
                </a:cubicBezTo>
                <a:lnTo>
                  <a:pt x="127" y="1231"/>
                </a:lnTo>
                <a:cubicBezTo>
                  <a:pt x="127" y="1316"/>
                  <a:pt x="191" y="1379"/>
                  <a:pt x="276" y="1379"/>
                </a:cubicBezTo>
                <a:cubicBezTo>
                  <a:pt x="360" y="1358"/>
                  <a:pt x="402" y="1273"/>
                  <a:pt x="402" y="1189"/>
                </a:cubicBezTo>
                <a:lnTo>
                  <a:pt x="297" y="131"/>
                </a:lnTo>
                <a:cubicBezTo>
                  <a:pt x="278" y="58"/>
                  <a:pt x="228" y="0"/>
                  <a:pt x="160" y="0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2"/>
          <p:cNvSpPr/>
          <p:nvPr/>
        </p:nvSpPr>
        <p:spPr>
          <a:xfrm>
            <a:off x="10717453" y="6435550"/>
            <a:ext cx="1997607" cy="399069"/>
          </a:xfrm>
          <a:custGeom>
            <a:avLst/>
            <a:gdLst/>
            <a:ahLst/>
            <a:cxnLst/>
            <a:rect l="l" t="t" r="r" b="b"/>
            <a:pathLst>
              <a:path w="13240" h="2645" extrusionOk="0">
                <a:moveTo>
                  <a:pt x="6620" y="1"/>
                </a:moveTo>
                <a:cubicBezTo>
                  <a:pt x="2961" y="1"/>
                  <a:pt x="0" y="593"/>
                  <a:pt x="0" y="1333"/>
                </a:cubicBezTo>
                <a:cubicBezTo>
                  <a:pt x="0" y="2052"/>
                  <a:pt x="2961" y="2644"/>
                  <a:pt x="6620" y="2644"/>
                </a:cubicBezTo>
                <a:cubicBezTo>
                  <a:pt x="10279" y="2644"/>
                  <a:pt x="13240" y="2052"/>
                  <a:pt x="13240" y="1333"/>
                </a:cubicBezTo>
                <a:cubicBezTo>
                  <a:pt x="13240" y="593"/>
                  <a:pt x="10279" y="1"/>
                  <a:pt x="6620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" name="Google Shape;52;p2"/>
          <p:cNvSpPr/>
          <p:nvPr/>
        </p:nvSpPr>
        <p:spPr>
          <a:xfrm>
            <a:off x="12413377" y="5002833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" name="Google Shape;53;p2"/>
          <p:cNvSpPr/>
          <p:nvPr/>
        </p:nvSpPr>
        <p:spPr>
          <a:xfrm>
            <a:off x="12738968" y="5017620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" name="Google Shape;54;p2"/>
          <p:cNvSpPr/>
          <p:nvPr/>
        </p:nvSpPr>
        <p:spPr>
          <a:xfrm>
            <a:off x="5016819" y="5074047"/>
            <a:ext cx="8334880" cy="2535935"/>
          </a:xfrm>
          <a:custGeom>
            <a:avLst/>
            <a:gdLst/>
            <a:ahLst/>
            <a:cxnLst/>
            <a:rect l="l" t="t" r="r" b="b"/>
            <a:pathLst>
              <a:path w="55243" h="16808" extrusionOk="0">
                <a:moveTo>
                  <a:pt x="44598" y="0"/>
                </a:moveTo>
                <a:cubicBezTo>
                  <a:pt x="40584" y="0"/>
                  <a:pt x="35338" y="325"/>
                  <a:pt x="28700" y="1326"/>
                </a:cubicBezTo>
                <a:cubicBezTo>
                  <a:pt x="9793" y="4203"/>
                  <a:pt x="1" y="12958"/>
                  <a:pt x="1" y="12958"/>
                </a:cubicBezTo>
                <a:lnTo>
                  <a:pt x="55243" y="16808"/>
                </a:lnTo>
                <a:lnTo>
                  <a:pt x="55243" y="1115"/>
                </a:lnTo>
                <a:cubicBezTo>
                  <a:pt x="55243" y="1115"/>
                  <a:pt x="52032" y="0"/>
                  <a:pt x="44598" y="0"/>
                </a:cubicBezTo>
                <a:close/>
              </a:path>
            </a:pathLst>
          </a:custGeom>
          <a:solidFill>
            <a:srgbClr val="62EC4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2"/>
          <p:cNvSpPr/>
          <p:nvPr/>
        </p:nvSpPr>
        <p:spPr>
          <a:xfrm>
            <a:off x="8691103" y="5543055"/>
            <a:ext cx="574539" cy="318500"/>
          </a:xfrm>
          <a:custGeom>
            <a:avLst/>
            <a:gdLst/>
            <a:ahLst/>
            <a:cxnLst/>
            <a:rect l="l" t="t" r="r" b="b"/>
            <a:pathLst>
              <a:path w="3808" h="2111" extrusionOk="0">
                <a:moveTo>
                  <a:pt x="2242" y="0"/>
                </a:moveTo>
                <a:cubicBezTo>
                  <a:pt x="1840" y="0"/>
                  <a:pt x="1439" y="74"/>
                  <a:pt x="1058" y="222"/>
                </a:cubicBezTo>
                <a:cubicBezTo>
                  <a:pt x="170" y="582"/>
                  <a:pt x="0" y="2020"/>
                  <a:pt x="1100" y="2105"/>
                </a:cubicBezTo>
                <a:cubicBezTo>
                  <a:pt x="1149" y="2109"/>
                  <a:pt x="1199" y="2111"/>
                  <a:pt x="1250" y="2111"/>
                </a:cubicBezTo>
                <a:cubicBezTo>
                  <a:pt x="2007" y="2111"/>
                  <a:pt x="3057" y="1684"/>
                  <a:pt x="3532" y="1090"/>
                </a:cubicBezTo>
                <a:cubicBezTo>
                  <a:pt x="3680" y="878"/>
                  <a:pt x="3807" y="561"/>
                  <a:pt x="3638" y="349"/>
                </a:cubicBezTo>
                <a:cubicBezTo>
                  <a:pt x="3575" y="307"/>
                  <a:pt x="3511" y="244"/>
                  <a:pt x="3427" y="222"/>
                </a:cubicBezTo>
                <a:cubicBezTo>
                  <a:pt x="3046" y="74"/>
                  <a:pt x="2644" y="0"/>
                  <a:pt x="2242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" name="Google Shape;56;p2"/>
          <p:cNvSpPr/>
          <p:nvPr/>
        </p:nvSpPr>
        <p:spPr>
          <a:xfrm>
            <a:off x="12282567" y="5442637"/>
            <a:ext cx="587363" cy="264788"/>
          </a:xfrm>
          <a:custGeom>
            <a:avLst/>
            <a:gdLst/>
            <a:ahLst/>
            <a:cxnLst/>
            <a:rect l="l" t="t" r="r" b="b"/>
            <a:pathLst>
              <a:path w="3893" h="1755" extrusionOk="0">
                <a:moveTo>
                  <a:pt x="2715" y="0"/>
                </a:moveTo>
                <a:cubicBezTo>
                  <a:pt x="2677" y="0"/>
                  <a:pt x="2640" y="2"/>
                  <a:pt x="2602" y="4"/>
                </a:cubicBezTo>
                <a:cubicBezTo>
                  <a:pt x="2306" y="4"/>
                  <a:pt x="2031" y="4"/>
                  <a:pt x="1735" y="25"/>
                </a:cubicBezTo>
                <a:cubicBezTo>
                  <a:pt x="1079" y="89"/>
                  <a:pt x="1" y="596"/>
                  <a:pt x="889" y="1379"/>
                </a:cubicBezTo>
                <a:cubicBezTo>
                  <a:pt x="1192" y="1647"/>
                  <a:pt x="1726" y="1755"/>
                  <a:pt x="2251" y="1755"/>
                </a:cubicBezTo>
                <a:cubicBezTo>
                  <a:pt x="2679" y="1755"/>
                  <a:pt x="3100" y="1683"/>
                  <a:pt x="3385" y="1569"/>
                </a:cubicBezTo>
                <a:cubicBezTo>
                  <a:pt x="3617" y="1464"/>
                  <a:pt x="3808" y="1252"/>
                  <a:pt x="3850" y="998"/>
                </a:cubicBezTo>
                <a:cubicBezTo>
                  <a:pt x="3892" y="660"/>
                  <a:pt x="3744" y="343"/>
                  <a:pt x="3448" y="173"/>
                </a:cubicBezTo>
                <a:cubicBezTo>
                  <a:pt x="3227" y="63"/>
                  <a:pt x="2973" y="0"/>
                  <a:pt x="2715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" name="Google Shape;57;p2"/>
          <p:cNvSpPr/>
          <p:nvPr/>
        </p:nvSpPr>
        <p:spPr>
          <a:xfrm>
            <a:off x="12710149" y="5777279"/>
            <a:ext cx="590531" cy="208663"/>
          </a:xfrm>
          <a:custGeom>
            <a:avLst/>
            <a:gdLst/>
            <a:ahLst/>
            <a:cxnLst/>
            <a:rect l="l" t="t" r="r" b="b"/>
            <a:pathLst>
              <a:path w="3914" h="1383" extrusionOk="0">
                <a:moveTo>
                  <a:pt x="1920" y="1"/>
                </a:moveTo>
                <a:cubicBezTo>
                  <a:pt x="1421" y="1"/>
                  <a:pt x="914" y="84"/>
                  <a:pt x="530" y="324"/>
                </a:cubicBezTo>
                <a:cubicBezTo>
                  <a:pt x="85" y="620"/>
                  <a:pt x="1" y="1001"/>
                  <a:pt x="487" y="1234"/>
                </a:cubicBezTo>
                <a:cubicBezTo>
                  <a:pt x="752" y="1349"/>
                  <a:pt x="1066" y="1382"/>
                  <a:pt x="1377" y="1382"/>
                </a:cubicBezTo>
                <a:cubicBezTo>
                  <a:pt x="1637" y="1382"/>
                  <a:pt x="1894" y="1359"/>
                  <a:pt x="2116" y="1339"/>
                </a:cubicBezTo>
                <a:cubicBezTo>
                  <a:pt x="2412" y="1297"/>
                  <a:pt x="3913" y="726"/>
                  <a:pt x="3194" y="176"/>
                </a:cubicBezTo>
                <a:cubicBezTo>
                  <a:pt x="3131" y="134"/>
                  <a:pt x="3067" y="113"/>
                  <a:pt x="2983" y="113"/>
                </a:cubicBezTo>
                <a:cubicBezTo>
                  <a:pt x="2672" y="49"/>
                  <a:pt x="2299" y="1"/>
                  <a:pt x="1920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2"/>
          <p:cNvSpPr/>
          <p:nvPr/>
        </p:nvSpPr>
        <p:spPr>
          <a:xfrm>
            <a:off x="8954388" y="5458327"/>
            <a:ext cx="83133" cy="166869"/>
          </a:xfrm>
          <a:custGeom>
            <a:avLst/>
            <a:gdLst/>
            <a:ahLst/>
            <a:cxnLst/>
            <a:rect l="l" t="t" r="r" b="b"/>
            <a:pathLst>
              <a:path w="551" h="1106" extrusionOk="0">
                <a:moveTo>
                  <a:pt x="402" y="1"/>
                </a:moveTo>
                <a:cubicBezTo>
                  <a:pt x="334" y="1"/>
                  <a:pt x="276" y="42"/>
                  <a:pt x="276" y="112"/>
                </a:cubicBezTo>
                <a:lnTo>
                  <a:pt x="22" y="894"/>
                </a:lnTo>
                <a:cubicBezTo>
                  <a:pt x="1" y="979"/>
                  <a:pt x="22" y="1063"/>
                  <a:pt x="107" y="1106"/>
                </a:cubicBezTo>
                <a:lnTo>
                  <a:pt x="170" y="1106"/>
                </a:lnTo>
                <a:cubicBezTo>
                  <a:pt x="212" y="1106"/>
                  <a:pt x="276" y="1063"/>
                  <a:pt x="276" y="1000"/>
                </a:cubicBezTo>
                <a:lnTo>
                  <a:pt x="530" y="218"/>
                </a:lnTo>
                <a:cubicBezTo>
                  <a:pt x="551" y="133"/>
                  <a:pt x="509" y="48"/>
                  <a:pt x="445" y="6"/>
                </a:cubicBezTo>
                <a:cubicBezTo>
                  <a:pt x="431" y="2"/>
                  <a:pt x="416" y="1"/>
                  <a:pt x="40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" name="Google Shape;59;p2"/>
          <p:cNvSpPr/>
          <p:nvPr/>
        </p:nvSpPr>
        <p:spPr>
          <a:xfrm>
            <a:off x="8868237" y="5397977"/>
            <a:ext cx="60803" cy="208059"/>
          </a:xfrm>
          <a:custGeom>
            <a:avLst/>
            <a:gdLst/>
            <a:ahLst/>
            <a:cxnLst/>
            <a:rect l="l" t="t" r="r" b="b"/>
            <a:pathLst>
              <a:path w="403" h="1379" extrusionOk="0">
                <a:moveTo>
                  <a:pt x="160" y="0"/>
                </a:moveTo>
                <a:cubicBezTo>
                  <a:pt x="150" y="0"/>
                  <a:pt x="139" y="1"/>
                  <a:pt x="128" y="4"/>
                </a:cubicBezTo>
                <a:cubicBezTo>
                  <a:pt x="43" y="25"/>
                  <a:pt x="1" y="89"/>
                  <a:pt x="1" y="173"/>
                </a:cubicBezTo>
                <a:lnTo>
                  <a:pt x="107" y="1231"/>
                </a:lnTo>
                <a:cubicBezTo>
                  <a:pt x="107" y="1315"/>
                  <a:pt x="191" y="1379"/>
                  <a:pt x="276" y="1379"/>
                </a:cubicBezTo>
                <a:cubicBezTo>
                  <a:pt x="339" y="1358"/>
                  <a:pt x="403" y="1273"/>
                  <a:pt x="382" y="1189"/>
                </a:cubicBezTo>
                <a:lnTo>
                  <a:pt x="276" y="131"/>
                </a:lnTo>
                <a:cubicBezTo>
                  <a:pt x="276" y="58"/>
                  <a:pt x="228" y="0"/>
                  <a:pt x="16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" name="Google Shape;60;p2"/>
          <p:cNvSpPr/>
          <p:nvPr/>
        </p:nvSpPr>
        <p:spPr>
          <a:xfrm>
            <a:off x="13172887" y="5486994"/>
            <a:ext cx="86301" cy="167020"/>
          </a:xfrm>
          <a:custGeom>
            <a:avLst/>
            <a:gdLst/>
            <a:ahLst/>
            <a:cxnLst/>
            <a:rect l="l" t="t" r="r" b="b"/>
            <a:pathLst>
              <a:path w="572" h="1107" extrusionOk="0">
                <a:moveTo>
                  <a:pt x="423" y="1"/>
                </a:moveTo>
                <a:cubicBezTo>
                  <a:pt x="354" y="1"/>
                  <a:pt x="293" y="42"/>
                  <a:pt x="275" y="112"/>
                </a:cubicBezTo>
                <a:lnTo>
                  <a:pt x="43" y="895"/>
                </a:lnTo>
                <a:cubicBezTo>
                  <a:pt x="0" y="979"/>
                  <a:pt x="43" y="1064"/>
                  <a:pt x="127" y="1106"/>
                </a:cubicBezTo>
                <a:lnTo>
                  <a:pt x="170" y="1106"/>
                </a:lnTo>
                <a:cubicBezTo>
                  <a:pt x="233" y="1106"/>
                  <a:pt x="275" y="1064"/>
                  <a:pt x="297" y="1000"/>
                </a:cubicBezTo>
                <a:lnTo>
                  <a:pt x="550" y="218"/>
                </a:lnTo>
                <a:cubicBezTo>
                  <a:pt x="572" y="133"/>
                  <a:pt x="529" y="49"/>
                  <a:pt x="466" y="6"/>
                </a:cubicBezTo>
                <a:cubicBezTo>
                  <a:pt x="451" y="3"/>
                  <a:pt x="437" y="1"/>
                  <a:pt x="42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" name="Google Shape;61;p2"/>
          <p:cNvSpPr/>
          <p:nvPr/>
        </p:nvSpPr>
        <p:spPr>
          <a:xfrm>
            <a:off x="13089905" y="5426645"/>
            <a:ext cx="60803" cy="208209"/>
          </a:xfrm>
          <a:custGeom>
            <a:avLst/>
            <a:gdLst/>
            <a:ahLst/>
            <a:cxnLst/>
            <a:rect l="l" t="t" r="r" b="b"/>
            <a:pathLst>
              <a:path w="403" h="1380" extrusionOk="0">
                <a:moveTo>
                  <a:pt x="160" y="0"/>
                </a:moveTo>
                <a:cubicBezTo>
                  <a:pt x="149" y="0"/>
                  <a:pt x="139" y="2"/>
                  <a:pt x="127" y="5"/>
                </a:cubicBezTo>
                <a:cubicBezTo>
                  <a:pt x="43" y="5"/>
                  <a:pt x="1" y="89"/>
                  <a:pt x="1" y="174"/>
                </a:cubicBezTo>
                <a:lnTo>
                  <a:pt x="127" y="1231"/>
                </a:lnTo>
                <a:cubicBezTo>
                  <a:pt x="127" y="1316"/>
                  <a:pt x="191" y="1379"/>
                  <a:pt x="276" y="1379"/>
                </a:cubicBezTo>
                <a:cubicBezTo>
                  <a:pt x="360" y="1358"/>
                  <a:pt x="402" y="1273"/>
                  <a:pt x="402" y="1189"/>
                </a:cubicBezTo>
                <a:lnTo>
                  <a:pt x="297" y="131"/>
                </a:lnTo>
                <a:cubicBezTo>
                  <a:pt x="278" y="58"/>
                  <a:pt x="228" y="0"/>
                  <a:pt x="16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" name="Google Shape;62;p2"/>
          <p:cNvSpPr/>
          <p:nvPr/>
        </p:nvSpPr>
        <p:spPr>
          <a:xfrm>
            <a:off x="6114444" y="6566963"/>
            <a:ext cx="99125" cy="159175"/>
          </a:xfrm>
          <a:custGeom>
            <a:avLst/>
            <a:gdLst/>
            <a:ahLst/>
            <a:cxnLst/>
            <a:rect l="l" t="t" r="r" b="b"/>
            <a:pathLst>
              <a:path w="657" h="1055" extrusionOk="0">
                <a:moveTo>
                  <a:pt x="163" y="1"/>
                </a:moveTo>
                <a:cubicBezTo>
                  <a:pt x="144" y="1"/>
                  <a:pt x="124" y="6"/>
                  <a:pt x="107" y="18"/>
                </a:cubicBezTo>
                <a:cubicBezTo>
                  <a:pt x="43" y="60"/>
                  <a:pt x="1" y="166"/>
                  <a:pt x="43" y="229"/>
                </a:cubicBezTo>
                <a:lnTo>
                  <a:pt x="382" y="970"/>
                </a:lnTo>
                <a:cubicBezTo>
                  <a:pt x="403" y="1033"/>
                  <a:pt x="445" y="1054"/>
                  <a:pt x="509" y="1054"/>
                </a:cubicBezTo>
                <a:lnTo>
                  <a:pt x="572" y="1054"/>
                </a:lnTo>
                <a:cubicBezTo>
                  <a:pt x="635" y="991"/>
                  <a:pt x="657" y="906"/>
                  <a:pt x="635" y="822"/>
                </a:cubicBezTo>
                <a:lnTo>
                  <a:pt x="297" y="81"/>
                </a:lnTo>
                <a:cubicBezTo>
                  <a:pt x="267" y="36"/>
                  <a:pt x="214" y="1"/>
                  <a:pt x="16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" name="Google Shape;63;p2"/>
          <p:cNvSpPr/>
          <p:nvPr/>
        </p:nvSpPr>
        <p:spPr>
          <a:xfrm>
            <a:off x="6232580" y="6489865"/>
            <a:ext cx="44811" cy="207456"/>
          </a:xfrm>
          <a:custGeom>
            <a:avLst/>
            <a:gdLst/>
            <a:ahLst/>
            <a:cxnLst/>
            <a:rect l="l" t="t" r="r" b="b"/>
            <a:pathLst>
              <a:path w="297" h="1375" extrusionOk="0">
                <a:moveTo>
                  <a:pt x="149" y="0"/>
                </a:moveTo>
                <a:cubicBezTo>
                  <a:pt x="64" y="0"/>
                  <a:pt x="0" y="85"/>
                  <a:pt x="0" y="148"/>
                </a:cubicBezTo>
                <a:lnTo>
                  <a:pt x="22" y="1206"/>
                </a:lnTo>
                <a:cubicBezTo>
                  <a:pt x="22" y="1290"/>
                  <a:pt x="85" y="1375"/>
                  <a:pt x="170" y="1375"/>
                </a:cubicBezTo>
                <a:cubicBezTo>
                  <a:pt x="233" y="1354"/>
                  <a:pt x="297" y="1290"/>
                  <a:pt x="297" y="1206"/>
                </a:cubicBezTo>
                <a:lnTo>
                  <a:pt x="275" y="148"/>
                </a:lnTo>
                <a:cubicBezTo>
                  <a:pt x="275" y="64"/>
                  <a:pt x="212" y="0"/>
                  <a:pt x="149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" name="Google Shape;64;p2"/>
          <p:cNvSpPr/>
          <p:nvPr/>
        </p:nvSpPr>
        <p:spPr>
          <a:xfrm>
            <a:off x="7852525" y="6147107"/>
            <a:ext cx="139148" cy="537560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" name="Google Shape;65;p2"/>
          <p:cNvSpPr/>
          <p:nvPr/>
        </p:nvSpPr>
        <p:spPr>
          <a:xfrm>
            <a:off x="7887592" y="6225259"/>
            <a:ext cx="291713" cy="228741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6" name="Google Shape;66;p2"/>
          <p:cNvSpPr/>
          <p:nvPr/>
        </p:nvSpPr>
        <p:spPr>
          <a:xfrm>
            <a:off x="7796022" y="6131231"/>
            <a:ext cx="128831" cy="338595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" name="Google Shape;67;p2"/>
          <p:cNvSpPr/>
          <p:nvPr/>
        </p:nvSpPr>
        <p:spPr>
          <a:xfrm>
            <a:off x="7907958" y="6003097"/>
            <a:ext cx="230665" cy="193995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8" name="Google Shape;68;p2"/>
          <p:cNvSpPr/>
          <p:nvPr/>
        </p:nvSpPr>
        <p:spPr>
          <a:xfrm>
            <a:off x="7612882" y="6066869"/>
            <a:ext cx="139095" cy="537507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9" name="Google Shape;69;p2"/>
          <p:cNvSpPr/>
          <p:nvPr/>
        </p:nvSpPr>
        <p:spPr>
          <a:xfrm>
            <a:off x="7425200" y="6144968"/>
            <a:ext cx="291713" cy="227619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0" name="Google Shape;70;p2"/>
          <p:cNvSpPr/>
          <p:nvPr/>
        </p:nvSpPr>
        <p:spPr>
          <a:xfrm>
            <a:off x="7679702" y="6050940"/>
            <a:ext cx="128777" cy="338648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1" name="Google Shape;71;p2"/>
          <p:cNvSpPr/>
          <p:nvPr/>
        </p:nvSpPr>
        <p:spPr>
          <a:xfrm>
            <a:off x="7465879" y="5922433"/>
            <a:ext cx="229543" cy="19436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2" name="Google Shape;72;p2"/>
          <p:cNvSpPr/>
          <p:nvPr/>
        </p:nvSpPr>
        <p:spPr>
          <a:xfrm>
            <a:off x="7606093" y="6556202"/>
            <a:ext cx="218264" cy="93389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3" name="Google Shape;73;p2"/>
          <p:cNvSpPr/>
          <p:nvPr/>
        </p:nvSpPr>
        <p:spPr>
          <a:xfrm>
            <a:off x="7780199" y="6638523"/>
            <a:ext cx="218264" cy="92480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4" name="Google Shape;74;p2"/>
          <p:cNvSpPr/>
          <p:nvPr/>
        </p:nvSpPr>
        <p:spPr>
          <a:xfrm>
            <a:off x="7852525" y="6147107"/>
            <a:ext cx="139148" cy="537560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5" name="Google Shape;75;p2"/>
          <p:cNvSpPr/>
          <p:nvPr/>
        </p:nvSpPr>
        <p:spPr>
          <a:xfrm>
            <a:off x="7887592" y="6225259"/>
            <a:ext cx="291713" cy="228741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" name="Google Shape;76;p2"/>
          <p:cNvSpPr/>
          <p:nvPr/>
        </p:nvSpPr>
        <p:spPr>
          <a:xfrm>
            <a:off x="7796022" y="6131231"/>
            <a:ext cx="128831" cy="338595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" name="Google Shape;77;p2"/>
          <p:cNvSpPr/>
          <p:nvPr/>
        </p:nvSpPr>
        <p:spPr>
          <a:xfrm>
            <a:off x="7907958" y="6003097"/>
            <a:ext cx="230665" cy="193995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2"/>
          <p:cNvSpPr/>
          <p:nvPr/>
        </p:nvSpPr>
        <p:spPr>
          <a:xfrm>
            <a:off x="7612882" y="6066869"/>
            <a:ext cx="139095" cy="537507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9" name="Google Shape;79;p2"/>
          <p:cNvSpPr/>
          <p:nvPr/>
        </p:nvSpPr>
        <p:spPr>
          <a:xfrm>
            <a:off x="7425200" y="6144968"/>
            <a:ext cx="291713" cy="227619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0" name="Google Shape;80;p2"/>
          <p:cNvSpPr/>
          <p:nvPr/>
        </p:nvSpPr>
        <p:spPr>
          <a:xfrm>
            <a:off x="7679702" y="6050940"/>
            <a:ext cx="128777" cy="338648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1" name="Google Shape;81;p2"/>
          <p:cNvSpPr/>
          <p:nvPr/>
        </p:nvSpPr>
        <p:spPr>
          <a:xfrm>
            <a:off x="7465879" y="5922433"/>
            <a:ext cx="229543" cy="19436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2" name="Google Shape;82;p2"/>
          <p:cNvSpPr/>
          <p:nvPr/>
        </p:nvSpPr>
        <p:spPr>
          <a:xfrm>
            <a:off x="7606093" y="6556202"/>
            <a:ext cx="218264" cy="93389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3" name="Google Shape;83;p2"/>
          <p:cNvSpPr/>
          <p:nvPr/>
        </p:nvSpPr>
        <p:spPr>
          <a:xfrm>
            <a:off x="7780199" y="6638523"/>
            <a:ext cx="218264" cy="92480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4" name="Google Shape;84;p2"/>
          <p:cNvSpPr/>
          <p:nvPr/>
        </p:nvSpPr>
        <p:spPr>
          <a:xfrm flipH="1">
            <a:off x="11112019" y="6363546"/>
            <a:ext cx="114792" cy="443469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5" name="Google Shape;85;p2"/>
          <p:cNvSpPr/>
          <p:nvPr/>
        </p:nvSpPr>
        <p:spPr>
          <a:xfrm flipH="1">
            <a:off x="10957230" y="6428017"/>
            <a:ext cx="240653" cy="188704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6" name="Google Shape;86;p2"/>
          <p:cNvSpPr/>
          <p:nvPr/>
        </p:nvSpPr>
        <p:spPr>
          <a:xfrm flipH="1">
            <a:off x="11167144" y="6350450"/>
            <a:ext cx="106281" cy="279329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7" name="Google Shape;87;p2"/>
          <p:cNvSpPr/>
          <p:nvPr/>
        </p:nvSpPr>
        <p:spPr>
          <a:xfrm flipH="1">
            <a:off x="10990790" y="6244746"/>
            <a:ext cx="190292" cy="16003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8" name="Google Shape;88;p2"/>
          <p:cNvSpPr/>
          <p:nvPr/>
        </p:nvSpPr>
        <p:spPr>
          <a:xfrm flipH="1">
            <a:off x="11309757" y="6297356"/>
            <a:ext cx="114748" cy="443425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" name="Google Shape;89;p2"/>
          <p:cNvSpPr/>
          <p:nvPr/>
        </p:nvSpPr>
        <p:spPr>
          <a:xfrm flipH="1">
            <a:off x="11338680" y="6361782"/>
            <a:ext cx="240653" cy="187777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" name="Google Shape;90;p2"/>
          <p:cNvSpPr/>
          <p:nvPr/>
        </p:nvSpPr>
        <p:spPr>
          <a:xfrm flipH="1">
            <a:off x="11263146" y="6284214"/>
            <a:ext cx="106237" cy="27937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1" name="Google Shape;91;p2"/>
          <p:cNvSpPr/>
          <p:nvPr/>
        </p:nvSpPr>
        <p:spPr>
          <a:xfrm flipH="1">
            <a:off x="11356410" y="6178201"/>
            <a:ext cx="189365" cy="16034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2" name="Google Shape;92;p2"/>
          <p:cNvSpPr/>
          <p:nvPr/>
        </p:nvSpPr>
        <p:spPr>
          <a:xfrm flipH="1">
            <a:off x="11250046" y="6701031"/>
            <a:ext cx="180060" cy="77043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3" name="Google Shape;93;p2"/>
          <p:cNvSpPr/>
          <p:nvPr/>
        </p:nvSpPr>
        <p:spPr>
          <a:xfrm flipH="1">
            <a:off x="11106417" y="6768942"/>
            <a:ext cx="180060" cy="76293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4" name="Google Shape;94;p2"/>
          <p:cNvSpPr/>
          <p:nvPr/>
        </p:nvSpPr>
        <p:spPr>
          <a:xfrm flipH="1">
            <a:off x="11112019" y="6363546"/>
            <a:ext cx="114792" cy="443469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5" name="Google Shape;95;p2"/>
          <p:cNvSpPr/>
          <p:nvPr/>
        </p:nvSpPr>
        <p:spPr>
          <a:xfrm flipH="1">
            <a:off x="10957230" y="6428017"/>
            <a:ext cx="240653" cy="188704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" name="Google Shape;96;p2"/>
          <p:cNvSpPr/>
          <p:nvPr/>
        </p:nvSpPr>
        <p:spPr>
          <a:xfrm flipH="1">
            <a:off x="11167144" y="6350450"/>
            <a:ext cx="106281" cy="279329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7" name="Google Shape;97;p2"/>
          <p:cNvSpPr/>
          <p:nvPr/>
        </p:nvSpPr>
        <p:spPr>
          <a:xfrm flipH="1">
            <a:off x="10990790" y="6244746"/>
            <a:ext cx="190292" cy="16003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" name="Google Shape;98;p2"/>
          <p:cNvSpPr/>
          <p:nvPr/>
        </p:nvSpPr>
        <p:spPr>
          <a:xfrm flipH="1">
            <a:off x="11309757" y="6297356"/>
            <a:ext cx="114748" cy="443425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" name="Google Shape;99;p2"/>
          <p:cNvSpPr/>
          <p:nvPr/>
        </p:nvSpPr>
        <p:spPr>
          <a:xfrm flipH="1">
            <a:off x="11338680" y="6361782"/>
            <a:ext cx="240653" cy="187777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" name="Google Shape;100;p2"/>
          <p:cNvSpPr/>
          <p:nvPr/>
        </p:nvSpPr>
        <p:spPr>
          <a:xfrm flipH="1">
            <a:off x="11263146" y="6284214"/>
            <a:ext cx="106237" cy="27937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" name="Google Shape;101;p2"/>
          <p:cNvSpPr/>
          <p:nvPr/>
        </p:nvSpPr>
        <p:spPr>
          <a:xfrm flipH="1">
            <a:off x="11356410" y="6178201"/>
            <a:ext cx="189365" cy="16034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" name="Google Shape;102;p2"/>
          <p:cNvSpPr/>
          <p:nvPr/>
        </p:nvSpPr>
        <p:spPr>
          <a:xfrm flipH="1">
            <a:off x="11250046" y="6701031"/>
            <a:ext cx="180060" cy="77043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" name="Google Shape;103;p2"/>
          <p:cNvSpPr/>
          <p:nvPr/>
        </p:nvSpPr>
        <p:spPr>
          <a:xfrm flipH="1">
            <a:off x="11106417" y="6768942"/>
            <a:ext cx="180060" cy="76293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4" name="Google Shape;104;p2"/>
          <p:cNvSpPr/>
          <p:nvPr/>
        </p:nvSpPr>
        <p:spPr>
          <a:xfrm flipH="1">
            <a:off x="16973" y="6310967"/>
            <a:ext cx="175711" cy="678813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" name="Google Shape;105;p2"/>
          <p:cNvSpPr/>
          <p:nvPr/>
        </p:nvSpPr>
        <p:spPr>
          <a:xfrm flipH="1">
            <a:off x="-219964" y="6409655"/>
            <a:ext cx="368365" cy="288847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" name="Google Shape;106;p2"/>
          <p:cNvSpPr/>
          <p:nvPr/>
        </p:nvSpPr>
        <p:spPr>
          <a:xfrm flipH="1">
            <a:off x="101351" y="6290919"/>
            <a:ext cx="162683" cy="427567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" name="Google Shape;107;p2"/>
          <p:cNvSpPr/>
          <p:nvPr/>
        </p:nvSpPr>
        <p:spPr>
          <a:xfrm flipH="1">
            <a:off x="-168593" y="6129116"/>
            <a:ext cx="291277" cy="24496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" name="Google Shape;108;p2"/>
          <p:cNvSpPr/>
          <p:nvPr/>
        </p:nvSpPr>
        <p:spPr>
          <a:xfrm flipH="1">
            <a:off x="319655" y="6209645"/>
            <a:ext cx="175644" cy="678747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9" name="Google Shape;109;p2"/>
          <p:cNvSpPr/>
          <p:nvPr/>
        </p:nvSpPr>
        <p:spPr>
          <a:xfrm flipH="1">
            <a:off x="363935" y="6308267"/>
            <a:ext cx="368365" cy="287429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" name="Google Shape;110;p2"/>
          <p:cNvSpPr/>
          <p:nvPr/>
        </p:nvSpPr>
        <p:spPr>
          <a:xfrm flipH="1">
            <a:off x="248304" y="6189530"/>
            <a:ext cx="162616" cy="42763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" name="Google Shape;111;p2"/>
          <p:cNvSpPr/>
          <p:nvPr/>
        </p:nvSpPr>
        <p:spPr>
          <a:xfrm flipH="1">
            <a:off x="391072" y="6027253"/>
            <a:ext cx="289859" cy="245443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" name="Google Shape;112;p2"/>
          <p:cNvSpPr/>
          <p:nvPr/>
        </p:nvSpPr>
        <p:spPr>
          <a:xfrm flipH="1">
            <a:off x="228255" y="6827564"/>
            <a:ext cx="275616" cy="117928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" name="Google Shape;113;p2"/>
          <p:cNvSpPr/>
          <p:nvPr/>
        </p:nvSpPr>
        <p:spPr>
          <a:xfrm flipH="1">
            <a:off x="8399" y="6931518"/>
            <a:ext cx="275616" cy="116781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4" name="Google Shape;114;p2"/>
          <p:cNvSpPr/>
          <p:nvPr/>
        </p:nvSpPr>
        <p:spPr>
          <a:xfrm flipH="1">
            <a:off x="16973" y="6310967"/>
            <a:ext cx="175711" cy="678813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5" name="Google Shape;115;p2"/>
          <p:cNvSpPr/>
          <p:nvPr/>
        </p:nvSpPr>
        <p:spPr>
          <a:xfrm flipH="1">
            <a:off x="-219964" y="6409655"/>
            <a:ext cx="368365" cy="288847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6" name="Google Shape;116;p2"/>
          <p:cNvSpPr/>
          <p:nvPr/>
        </p:nvSpPr>
        <p:spPr>
          <a:xfrm flipH="1">
            <a:off x="101351" y="6290919"/>
            <a:ext cx="162683" cy="427567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7" name="Google Shape;117;p2"/>
          <p:cNvSpPr/>
          <p:nvPr/>
        </p:nvSpPr>
        <p:spPr>
          <a:xfrm flipH="1">
            <a:off x="-168593" y="6129116"/>
            <a:ext cx="291277" cy="24496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8" name="Google Shape;118;p2"/>
          <p:cNvSpPr/>
          <p:nvPr/>
        </p:nvSpPr>
        <p:spPr>
          <a:xfrm flipH="1">
            <a:off x="319655" y="6209645"/>
            <a:ext cx="175644" cy="678747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9" name="Google Shape;119;p2"/>
          <p:cNvSpPr/>
          <p:nvPr/>
        </p:nvSpPr>
        <p:spPr>
          <a:xfrm flipH="1">
            <a:off x="363935" y="6308267"/>
            <a:ext cx="368365" cy="287429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0" name="Google Shape;120;p2"/>
          <p:cNvSpPr/>
          <p:nvPr/>
        </p:nvSpPr>
        <p:spPr>
          <a:xfrm flipH="1">
            <a:off x="248304" y="6189530"/>
            <a:ext cx="162616" cy="42763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1" name="Google Shape;121;p2"/>
          <p:cNvSpPr/>
          <p:nvPr/>
        </p:nvSpPr>
        <p:spPr>
          <a:xfrm flipH="1">
            <a:off x="391072" y="6027253"/>
            <a:ext cx="289859" cy="245443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2" name="Google Shape;122;p2"/>
          <p:cNvSpPr/>
          <p:nvPr/>
        </p:nvSpPr>
        <p:spPr>
          <a:xfrm flipH="1">
            <a:off x="228255" y="6827564"/>
            <a:ext cx="275616" cy="117928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3" name="Google Shape;123;p2"/>
          <p:cNvSpPr/>
          <p:nvPr/>
        </p:nvSpPr>
        <p:spPr>
          <a:xfrm flipH="1">
            <a:off x="8399" y="6931518"/>
            <a:ext cx="275616" cy="116781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4" name="Google Shape;124;p2"/>
          <p:cNvSpPr/>
          <p:nvPr/>
        </p:nvSpPr>
        <p:spPr>
          <a:xfrm flipH="1">
            <a:off x="3589885" y="6064846"/>
            <a:ext cx="114792" cy="443469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5" name="Google Shape;125;p2"/>
          <p:cNvSpPr/>
          <p:nvPr/>
        </p:nvSpPr>
        <p:spPr>
          <a:xfrm flipH="1">
            <a:off x="3435096" y="6129317"/>
            <a:ext cx="240653" cy="188704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6" name="Google Shape;126;p2"/>
          <p:cNvSpPr/>
          <p:nvPr/>
        </p:nvSpPr>
        <p:spPr>
          <a:xfrm flipH="1">
            <a:off x="3645010" y="6051750"/>
            <a:ext cx="106281" cy="279329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7" name="Google Shape;127;p2"/>
          <p:cNvSpPr/>
          <p:nvPr/>
        </p:nvSpPr>
        <p:spPr>
          <a:xfrm flipH="1">
            <a:off x="3468657" y="5946046"/>
            <a:ext cx="190292" cy="16003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8" name="Google Shape;128;p2"/>
          <p:cNvSpPr/>
          <p:nvPr/>
        </p:nvSpPr>
        <p:spPr>
          <a:xfrm flipH="1">
            <a:off x="3787623" y="5998656"/>
            <a:ext cx="114748" cy="443425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9" name="Google Shape;129;p2"/>
          <p:cNvSpPr/>
          <p:nvPr/>
        </p:nvSpPr>
        <p:spPr>
          <a:xfrm flipH="1">
            <a:off x="3816547" y="6063082"/>
            <a:ext cx="240653" cy="187777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" name="Google Shape;130;p2"/>
          <p:cNvSpPr/>
          <p:nvPr/>
        </p:nvSpPr>
        <p:spPr>
          <a:xfrm flipH="1">
            <a:off x="3741012" y="5985514"/>
            <a:ext cx="106237" cy="27937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1" name="Google Shape;131;p2"/>
          <p:cNvSpPr/>
          <p:nvPr/>
        </p:nvSpPr>
        <p:spPr>
          <a:xfrm flipH="1">
            <a:off x="3834276" y="5879501"/>
            <a:ext cx="189365" cy="16034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2" name="Google Shape;132;p2"/>
          <p:cNvSpPr/>
          <p:nvPr/>
        </p:nvSpPr>
        <p:spPr>
          <a:xfrm flipH="1">
            <a:off x="3727913" y="6402331"/>
            <a:ext cx="180060" cy="77043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3" name="Google Shape;133;p2"/>
          <p:cNvSpPr/>
          <p:nvPr/>
        </p:nvSpPr>
        <p:spPr>
          <a:xfrm flipH="1">
            <a:off x="3584283" y="6470242"/>
            <a:ext cx="180060" cy="76293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4" name="Google Shape;134;p2"/>
          <p:cNvSpPr/>
          <p:nvPr/>
        </p:nvSpPr>
        <p:spPr>
          <a:xfrm flipH="1">
            <a:off x="3589885" y="6064846"/>
            <a:ext cx="114792" cy="443469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5" name="Google Shape;135;p2"/>
          <p:cNvSpPr/>
          <p:nvPr/>
        </p:nvSpPr>
        <p:spPr>
          <a:xfrm flipH="1">
            <a:off x="3435096" y="6129317"/>
            <a:ext cx="240653" cy="188704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6" name="Google Shape;136;p2"/>
          <p:cNvSpPr/>
          <p:nvPr/>
        </p:nvSpPr>
        <p:spPr>
          <a:xfrm flipH="1">
            <a:off x="3645010" y="6051750"/>
            <a:ext cx="106281" cy="279329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7" name="Google Shape;137;p2"/>
          <p:cNvSpPr/>
          <p:nvPr/>
        </p:nvSpPr>
        <p:spPr>
          <a:xfrm flipH="1">
            <a:off x="3468657" y="5946046"/>
            <a:ext cx="190292" cy="16003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8" name="Google Shape;138;p2"/>
          <p:cNvSpPr/>
          <p:nvPr/>
        </p:nvSpPr>
        <p:spPr>
          <a:xfrm flipH="1">
            <a:off x="3787623" y="5998656"/>
            <a:ext cx="114748" cy="443425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9" name="Google Shape;139;p2"/>
          <p:cNvSpPr/>
          <p:nvPr/>
        </p:nvSpPr>
        <p:spPr>
          <a:xfrm flipH="1">
            <a:off x="3816547" y="6063082"/>
            <a:ext cx="240653" cy="187777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0" name="Google Shape;140;p2"/>
          <p:cNvSpPr/>
          <p:nvPr/>
        </p:nvSpPr>
        <p:spPr>
          <a:xfrm flipH="1">
            <a:off x="3741012" y="5985514"/>
            <a:ext cx="106237" cy="27937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1" name="Google Shape;141;p2"/>
          <p:cNvSpPr/>
          <p:nvPr/>
        </p:nvSpPr>
        <p:spPr>
          <a:xfrm flipH="1">
            <a:off x="3834276" y="5879501"/>
            <a:ext cx="189365" cy="16034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2" name="Google Shape;142;p2"/>
          <p:cNvSpPr/>
          <p:nvPr/>
        </p:nvSpPr>
        <p:spPr>
          <a:xfrm flipH="1">
            <a:off x="3727913" y="6402331"/>
            <a:ext cx="180060" cy="77043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3" name="Google Shape;143;p2"/>
          <p:cNvSpPr/>
          <p:nvPr/>
        </p:nvSpPr>
        <p:spPr>
          <a:xfrm flipH="1">
            <a:off x="3584283" y="6470242"/>
            <a:ext cx="180060" cy="76293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4" name="Google Shape;144;p2"/>
          <p:cNvSpPr/>
          <p:nvPr/>
        </p:nvSpPr>
        <p:spPr>
          <a:xfrm>
            <a:off x="10931435" y="551589"/>
            <a:ext cx="676516" cy="6483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5" name="Google Shape;145;p2"/>
          <p:cNvSpPr/>
          <p:nvPr/>
        </p:nvSpPr>
        <p:spPr>
          <a:xfrm>
            <a:off x="10928597" y="556365"/>
            <a:ext cx="678408" cy="64796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6" name="Google Shape;146;p2"/>
          <p:cNvSpPr/>
          <p:nvPr/>
        </p:nvSpPr>
        <p:spPr>
          <a:xfrm>
            <a:off x="10997207" y="616515"/>
            <a:ext cx="530735" cy="507744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7" name="Google Shape;147;p2"/>
          <p:cNvSpPr/>
          <p:nvPr/>
        </p:nvSpPr>
        <p:spPr>
          <a:xfrm>
            <a:off x="10983873" y="636159"/>
            <a:ext cx="349679" cy="496524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8" name="Google Shape;148;p2"/>
          <p:cNvSpPr/>
          <p:nvPr/>
        </p:nvSpPr>
        <p:spPr>
          <a:xfrm>
            <a:off x="10931435" y="551567"/>
            <a:ext cx="676516" cy="6483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9" name="Google Shape;149;p2"/>
          <p:cNvSpPr/>
          <p:nvPr/>
        </p:nvSpPr>
        <p:spPr>
          <a:xfrm>
            <a:off x="10928597" y="556343"/>
            <a:ext cx="678408" cy="64796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0" name="Google Shape;150;p2"/>
          <p:cNvSpPr/>
          <p:nvPr/>
        </p:nvSpPr>
        <p:spPr>
          <a:xfrm>
            <a:off x="10997207" y="616492"/>
            <a:ext cx="530735" cy="507744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1" name="Google Shape;151;p2"/>
          <p:cNvSpPr/>
          <p:nvPr/>
        </p:nvSpPr>
        <p:spPr>
          <a:xfrm>
            <a:off x="10997208" y="646639"/>
            <a:ext cx="336353" cy="47760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2" name="Google Shape;152;p2"/>
          <p:cNvSpPr/>
          <p:nvPr/>
        </p:nvSpPr>
        <p:spPr>
          <a:xfrm>
            <a:off x="194484" y="3980614"/>
            <a:ext cx="417323" cy="399919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3" name="Google Shape;153;p2"/>
          <p:cNvSpPr/>
          <p:nvPr/>
        </p:nvSpPr>
        <p:spPr>
          <a:xfrm>
            <a:off x="192734" y="3983560"/>
            <a:ext cx="418489" cy="399696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4" name="Google Shape;154;p2"/>
          <p:cNvSpPr/>
          <p:nvPr/>
        </p:nvSpPr>
        <p:spPr>
          <a:xfrm>
            <a:off x="235060" y="4020664"/>
            <a:ext cx="327393" cy="31320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5" name="Google Shape;155;p2"/>
          <p:cNvSpPr/>
          <p:nvPr/>
        </p:nvSpPr>
        <p:spPr>
          <a:xfrm>
            <a:off x="226834" y="4032781"/>
            <a:ext cx="215705" cy="30628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6" name="Google Shape;156;p2"/>
          <p:cNvSpPr/>
          <p:nvPr/>
        </p:nvSpPr>
        <p:spPr>
          <a:xfrm>
            <a:off x="194484" y="3980601"/>
            <a:ext cx="417323" cy="399919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7" name="Google Shape;157;p2"/>
          <p:cNvSpPr/>
          <p:nvPr/>
        </p:nvSpPr>
        <p:spPr>
          <a:xfrm>
            <a:off x="192734" y="3983547"/>
            <a:ext cx="418489" cy="399696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8" name="Google Shape;158;p2"/>
          <p:cNvSpPr/>
          <p:nvPr/>
        </p:nvSpPr>
        <p:spPr>
          <a:xfrm>
            <a:off x="235060" y="4020650"/>
            <a:ext cx="327393" cy="31320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9" name="Google Shape;159;p2"/>
          <p:cNvSpPr/>
          <p:nvPr/>
        </p:nvSpPr>
        <p:spPr>
          <a:xfrm>
            <a:off x="235059" y="4039248"/>
            <a:ext cx="207504" cy="294601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0" name="Google Shape;160;p2"/>
          <p:cNvSpPr/>
          <p:nvPr/>
        </p:nvSpPr>
        <p:spPr>
          <a:xfrm rot="-3212109">
            <a:off x="2968437" y="204723"/>
            <a:ext cx="572132" cy="54834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1" name="Google Shape;161;p2"/>
          <p:cNvSpPr/>
          <p:nvPr/>
        </p:nvSpPr>
        <p:spPr>
          <a:xfrm rot="-3212109">
            <a:off x="2969811" y="208472"/>
            <a:ext cx="573732" cy="548035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2" name="Google Shape;162;p2"/>
          <p:cNvSpPr/>
          <p:nvPr/>
        </p:nvSpPr>
        <p:spPr>
          <a:xfrm rot="-3212109">
            <a:off x="3022857" y="266317"/>
            <a:ext cx="448844" cy="42944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3" name="Google Shape;163;p2"/>
          <p:cNvSpPr/>
          <p:nvPr/>
        </p:nvSpPr>
        <p:spPr>
          <a:xfrm rot="-3212109">
            <a:off x="3056755" y="348758"/>
            <a:ext cx="295724" cy="41995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4" name="Google Shape;164;p2"/>
          <p:cNvSpPr/>
          <p:nvPr/>
        </p:nvSpPr>
        <p:spPr>
          <a:xfrm rot="-3212109">
            <a:off x="2968422" y="204713"/>
            <a:ext cx="572132" cy="54834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5" name="Google Shape;165;p2"/>
          <p:cNvSpPr/>
          <p:nvPr/>
        </p:nvSpPr>
        <p:spPr>
          <a:xfrm rot="-3212109">
            <a:off x="2969795" y="208461"/>
            <a:ext cx="573732" cy="548035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6" name="Google Shape;166;p2"/>
          <p:cNvSpPr/>
          <p:nvPr/>
        </p:nvSpPr>
        <p:spPr>
          <a:xfrm rot="-3212109">
            <a:off x="3022841" y="266307"/>
            <a:ext cx="448844" cy="42944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7" name="Google Shape;167;p2"/>
          <p:cNvSpPr/>
          <p:nvPr/>
        </p:nvSpPr>
        <p:spPr>
          <a:xfrm rot="-3211758">
            <a:off x="3066438" y="352753"/>
            <a:ext cx="284453" cy="403929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8" name="Google Shape;168;p2"/>
          <p:cNvSpPr txBox="1">
            <a:spLocks noGrp="1"/>
          </p:cNvSpPr>
          <p:nvPr>
            <p:ph type="title"/>
          </p:nvPr>
        </p:nvSpPr>
        <p:spPr>
          <a:xfrm>
            <a:off x="1468300" y="987267"/>
            <a:ext cx="9148400" cy="2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8000">
                <a:latin typeface="Titan One"/>
                <a:ea typeface="Titan One"/>
                <a:cs typeface="Titan One"/>
                <a:sym typeface="Titan On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2"/>
          <p:cNvSpPr txBox="1">
            <a:spLocks noGrp="1"/>
          </p:cNvSpPr>
          <p:nvPr>
            <p:ph type="subTitle" idx="1"/>
          </p:nvPr>
        </p:nvSpPr>
        <p:spPr>
          <a:xfrm>
            <a:off x="2805300" y="3459400"/>
            <a:ext cx="6474400" cy="56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 sz="26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53937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3"/>
          <p:cNvSpPr txBox="1">
            <a:spLocks noGrp="1"/>
          </p:cNvSpPr>
          <p:nvPr>
            <p:ph type="title"/>
          </p:nvPr>
        </p:nvSpPr>
        <p:spPr>
          <a:xfrm>
            <a:off x="3497000" y="3209733"/>
            <a:ext cx="5198000" cy="96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172" name="Google Shape;172;p3"/>
          <p:cNvSpPr txBox="1">
            <a:spLocks noGrp="1"/>
          </p:cNvSpPr>
          <p:nvPr>
            <p:ph type="subTitle" idx="1"/>
          </p:nvPr>
        </p:nvSpPr>
        <p:spPr>
          <a:xfrm>
            <a:off x="4150200" y="4158133"/>
            <a:ext cx="3891600" cy="96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4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9pPr>
          </a:lstStyle>
          <a:p>
            <a:endParaRPr/>
          </a:p>
        </p:txBody>
      </p:sp>
      <p:sp>
        <p:nvSpPr>
          <p:cNvPr id="173" name="Google Shape;173;p3"/>
          <p:cNvSpPr txBox="1">
            <a:spLocks noGrp="1"/>
          </p:cNvSpPr>
          <p:nvPr>
            <p:ph type="title" idx="2" hasCustomPrompt="1"/>
          </p:nvPr>
        </p:nvSpPr>
        <p:spPr>
          <a:xfrm>
            <a:off x="4676600" y="1248484"/>
            <a:ext cx="2838800" cy="183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0"/>
              <a:buNone/>
              <a:defRPr sz="13333"/>
            </a:lvl1pPr>
            <a:lvl2pPr lvl="1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grpSp>
        <p:nvGrpSpPr>
          <p:cNvPr id="174" name="Google Shape;174;p3"/>
          <p:cNvGrpSpPr/>
          <p:nvPr/>
        </p:nvGrpSpPr>
        <p:grpSpPr>
          <a:xfrm>
            <a:off x="-203657" y="524635"/>
            <a:ext cx="12469016" cy="7601580"/>
            <a:chOff x="-152743" y="393476"/>
            <a:chExt cx="9351762" cy="5701185"/>
          </a:xfrm>
        </p:grpSpPr>
        <p:sp>
          <p:nvSpPr>
            <p:cNvPr id="175" name="Google Shape;175;p3"/>
            <p:cNvSpPr/>
            <p:nvPr/>
          </p:nvSpPr>
          <p:spPr>
            <a:xfrm flipH="1">
              <a:off x="3351264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rgbClr val="89B98A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" name="Google Shape;176;p3"/>
            <p:cNvSpPr/>
            <p:nvPr/>
          </p:nvSpPr>
          <p:spPr>
            <a:xfrm flipH="1">
              <a:off x="8987627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" name="Google Shape;177;p3"/>
            <p:cNvSpPr/>
            <p:nvPr/>
          </p:nvSpPr>
          <p:spPr>
            <a:xfrm flipH="1">
              <a:off x="8334064" y="5367285"/>
              <a:ext cx="494696" cy="151346"/>
            </a:xfrm>
            <a:custGeom>
              <a:avLst/>
              <a:gdLst/>
              <a:ahLst/>
              <a:cxnLst/>
              <a:rect l="l" t="t" r="r" b="b"/>
              <a:pathLst>
                <a:path w="4210" h="1288" extrusionOk="0">
                  <a:moveTo>
                    <a:pt x="2375" y="1"/>
                  </a:moveTo>
                  <a:cubicBezTo>
                    <a:pt x="1870" y="1"/>
                    <a:pt x="1352" y="85"/>
                    <a:pt x="932" y="187"/>
                  </a:cubicBezTo>
                  <a:cubicBezTo>
                    <a:pt x="868" y="208"/>
                    <a:pt x="784" y="229"/>
                    <a:pt x="741" y="272"/>
                  </a:cubicBezTo>
                  <a:cubicBezTo>
                    <a:pt x="1" y="843"/>
                    <a:pt x="1651" y="1287"/>
                    <a:pt x="1947" y="1287"/>
                  </a:cubicBezTo>
                  <a:cubicBezTo>
                    <a:pt x="2028" y="1287"/>
                    <a:pt x="2113" y="1287"/>
                    <a:pt x="2201" y="1287"/>
                  </a:cubicBezTo>
                  <a:cubicBezTo>
                    <a:pt x="2686" y="1287"/>
                    <a:pt x="3251" y="1272"/>
                    <a:pt x="3681" y="1075"/>
                  </a:cubicBezTo>
                  <a:cubicBezTo>
                    <a:pt x="4210" y="822"/>
                    <a:pt x="4083" y="462"/>
                    <a:pt x="3575" y="229"/>
                  </a:cubicBezTo>
                  <a:cubicBezTo>
                    <a:pt x="3233" y="63"/>
                    <a:pt x="2809" y="1"/>
                    <a:pt x="2375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3"/>
            <p:cNvSpPr/>
            <p:nvPr/>
          </p:nvSpPr>
          <p:spPr>
            <a:xfrm flipH="1">
              <a:off x="8950378" y="5451889"/>
              <a:ext cx="77083" cy="121383"/>
            </a:xfrm>
            <a:custGeom>
              <a:avLst/>
              <a:gdLst/>
              <a:ahLst/>
              <a:cxnLst/>
              <a:rect l="l" t="t" r="r" b="b"/>
              <a:pathLst>
                <a:path w="656" h="1033" extrusionOk="0">
                  <a:moveTo>
                    <a:pt x="181" y="0"/>
                  </a:moveTo>
                  <a:cubicBezTo>
                    <a:pt x="162" y="0"/>
                    <a:pt x="144" y="6"/>
                    <a:pt x="127" y="17"/>
                  </a:cubicBezTo>
                  <a:cubicBezTo>
                    <a:pt x="42" y="38"/>
                    <a:pt x="0" y="144"/>
                    <a:pt x="42" y="207"/>
                  </a:cubicBezTo>
                  <a:lnTo>
                    <a:pt x="360" y="926"/>
                  </a:lnTo>
                  <a:cubicBezTo>
                    <a:pt x="381" y="990"/>
                    <a:pt x="444" y="1032"/>
                    <a:pt x="486" y="1032"/>
                  </a:cubicBezTo>
                  <a:cubicBezTo>
                    <a:pt x="508" y="1032"/>
                    <a:pt x="529" y="1011"/>
                    <a:pt x="550" y="1011"/>
                  </a:cubicBezTo>
                  <a:cubicBezTo>
                    <a:pt x="635" y="990"/>
                    <a:pt x="656" y="884"/>
                    <a:pt x="635" y="821"/>
                  </a:cubicBezTo>
                  <a:lnTo>
                    <a:pt x="317" y="102"/>
                  </a:lnTo>
                  <a:cubicBezTo>
                    <a:pt x="286" y="40"/>
                    <a:pt x="233" y="0"/>
                    <a:pt x="181" y="0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" name="Google Shape;179;p3"/>
            <p:cNvSpPr/>
            <p:nvPr/>
          </p:nvSpPr>
          <p:spPr>
            <a:xfrm flipH="1">
              <a:off x="8888217" y="5399129"/>
              <a:ext cx="42419" cy="154167"/>
            </a:xfrm>
            <a:custGeom>
              <a:avLst/>
              <a:gdLst/>
              <a:ahLst/>
              <a:cxnLst/>
              <a:rect l="l" t="t" r="r" b="b"/>
              <a:pathLst>
                <a:path w="361" h="1312" extrusionOk="0">
                  <a:moveTo>
                    <a:pt x="212" y="1"/>
                  </a:moveTo>
                  <a:cubicBezTo>
                    <a:pt x="128" y="1"/>
                    <a:pt x="43" y="64"/>
                    <a:pt x="43" y="149"/>
                  </a:cubicBezTo>
                  <a:lnTo>
                    <a:pt x="1" y="1164"/>
                  </a:lnTo>
                  <a:cubicBezTo>
                    <a:pt x="1" y="1249"/>
                    <a:pt x="64" y="1312"/>
                    <a:pt x="149" y="1312"/>
                  </a:cubicBezTo>
                  <a:cubicBezTo>
                    <a:pt x="233" y="1312"/>
                    <a:pt x="297" y="1249"/>
                    <a:pt x="297" y="1164"/>
                  </a:cubicBezTo>
                  <a:lnTo>
                    <a:pt x="339" y="170"/>
                  </a:lnTo>
                  <a:cubicBezTo>
                    <a:pt x="360" y="85"/>
                    <a:pt x="297" y="22"/>
                    <a:pt x="212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" name="Google Shape;180;p3"/>
            <p:cNvSpPr/>
            <p:nvPr/>
          </p:nvSpPr>
          <p:spPr>
            <a:xfrm flipH="1">
              <a:off x="8840980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" name="Google Shape;181;p3"/>
            <p:cNvSpPr/>
            <p:nvPr/>
          </p:nvSpPr>
          <p:spPr>
            <a:xfrm flipH="1">
              <a:off x="8778703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" name="Google Shape;182;p3"/>
            <p:cNvSpPr/>
            <p:nvPr/>
          </p:nvSpPr>
          <p:spPr>
            <a:xfrm flipH="1">
              <a:off x="3337575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rgbClr val="30AE1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" name="Google Shape;183;p3"/>
            <p:cNvSpPr/>
            <p:nvPr/>
          </p:nvSpPr>
          <p:spPr>
            <a:xfrm flipH="1">
              <a:off x="3394801" y="4805258"/>
              <a:ext cx="124320" cy="131723"/>
            </a:xfrm>
            <a:custGeom>
              <a:avLst/>
              <a:gdLst/>
              <a:ahLst/>
              <a:cxnLst/>
              <a:rect l="l" t="t" r="r" b="b"/>
              <a:pathLst>
                <a:path w="1058" h="1121" extrusionOk="0">
                  <a:moveTo>
                    <a:pt x="762" y="0"/>
                  </a:moveTo>
                  <a:cubicBezTo>
                    <a:pt x="677" y="42"/>
                    <a:pt x="614" y="85"/>
                    <a:pt x="571" y="169"/>
                  </a:cubicBezTo>
                  <a:cubicBezTo>
                    <a:pt x="466" y="317"/>
                    <a:pt x="402" y="465"/>
                    <a:pt x="339" y="635"/>
                  </a:cubicBezTo>
                  <a:lnTo>
                    <a:pt x="254" y="127"/>
                  </a:lnTo>
                  <a:cubicBezTo>
                    <a:pt x="254" y="106"/>
                    <a:pt x="233" y="63"/>
                    <a:pt x="212" y="42"/>
                  </a:cubicBezTo>
                  <a:cubicBezTo>
                    <a:pt x="194" y="34"/>
                    <a:pt x="177" y="28"/>
                    <a:pt x="159" y="28"/>
                  </a:cubicBezTo>
                  <a:cubicBezTo>
                    <a:pt x="135" y="28"/>
                    <a:pt x="110" y="39"/>
                    <a:pt x="85" y="63"/>
                  </a:cubicBezTo>
                  <a:cubicBezTo>
                    <a:pt x="64" y="106"/>
                    <a:pt x="43" y="148"/>
                    <a:pt x="43" y="190"/>
                  </a:cubicBezTo>
                  <a:cubicBezTo>
                    <a:pt x="0" y="381"/>
                    <a:pt x="0" y="571"/>
                    <a:pt x="22" y="740"/>
                  </a:cubicBezTo>
                  <a:cubicBezTo>
                    <a:pt x="43" y="804"/>
                    <a:pt x="64" y="867"/>
                    <a:pt x="106" y="888"/>
                  </a:cubicBezTo>
                  <a:lnTo>
                    <a:pt x="656" y="1121"/>
                  </a:lnTo>
                  <a:cubicBezTo>
                    <a:pt x="825" y="952"/>
                    <a:pt x="952" y="740"/>
                    <a:pt x="1016" y="508"/>
                  </a:cubicBezTo>
                  <a:cubicBezTo>
                    <a:pt x="1058" y="402"/>
                    <a:pt x="1058" y="296"/>
                    <a:pt x="1037" y="190"/>
                  </a:cubicBezTo>
                  <a:cubicBezTo>
                    <a:pt x="994" y="63"/>
                    <a:pt x="889" y="0"/>
                    <a:pt x="76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4" name="Google Shape;184;p3"/>
            <p:cNvSpPr/>
            <p:nvPr/>
          </p:nvSpPr>
          <p:spPr>
            <a:xfrm flipH="1">
              <a:off x="5253612" y="4415142"/>
              <a:ext cx="121970" cy="131723"/>
            </a:xfrm>
            <a:custGeom>
              <a:avLst/>
              <a:gdLst/>
              <a:ahLst/>
              <a:cxnLst/>
              <a:rect l="l" t="t" r="r" b="b"/>
              <a:pathLst>
                <a:path w="1038" h="1121" extrusionOk="0">
                  <a:moveTo>
                    <a:pt x="770" y="0"/>
                  </a:moveTo>
                  <a:cubicBezTo>
                    <a:pt x="735" y="0"/>
                    <a:pt x="697" y="7"/>
                    <a:pt x="656" y="21"/>
                  </a:cubicBezTo>
                  <a:cubicBezTo>
                    <a:pt x="593" y="63"/>
                    <a:pt x="530" y="148"/>
                    <a:pt x="508" y="232"/>
                  </a:cubicBezTo>
                  <a:cubicBezTo>
                    <a:pt x="466" y="401"/>
                    <a:pt x="445" y="571"/>
                    <a:pt x="424" y="740"/>
                  </a:cubicBezTo>
                  <a:cubicBezTo>
                    <a:pt x="360" y="592"/>
                    <a:pt x="276" y="444"/>
                    <a:pt x="212" y="296"/>
                  </a:cubicBezTo>
                  <a:cubicBezTo>
                    <a:pt x="191" y="253"/>
                    <a:pt x="170" y="232"/>
                    <a:pt x="149" y="211"/>
                  </a:cubicBezTo>
                  <a:cubicBezTo>
                    <a:pt x="138" y="205"/>
                    <a:pt x="126" y="203"/>
                    <a:pt x="115" y="203"/>
                  </a:cubicBezTo>
                  <a:cubicBezTo>
                    <a:pt x="85" y="203"/>
                    <a:pt x="59" y="222"/>
                    <a:pt x="43" y="253"/>
                  </a:cubicBezTo>
                  <a:cubicBezTo>
                    <a:pt x="22" y="296"/>
                    <a:pt x="1" y="359"/>
                    <a:pt x="22" y="401"/>
                  </a:cubicBezTo>
                  <a:cubicBezTo>
                    <a:pt x="22" y="592"/>
                    <a:pt x="85" y="761"/>
                    <a:pt x="170" y="930"/>
                  </a:cubicBezTo>
                  <a:cubicBezTo>
                    <a:pt x="191" y="994"/>
                    <a:pt x="212" y="1057"/>
                    <a:pt x="276" y="1057"/>
                  </a:cubicBezTo>
                  <a:lnTo>
                    <a:pt x="847" y="1121"/>
                  </a:lnTo>
                  <a:cubicBezTo>
                    <a:pt x="953" y="909"/>
                    <a:pt x="1016" y="676"/>
                    <a:pt x="1037" y="444"/>
                  </a:cubicBezTo>
                  <a:cubicBezTo>
                    <a:pt x="1037" y="317"/>
                    <a:pt x="1016" y="211"/>
                    <a:pt x="953" y="105"/>
                  </a:cubicBezTo>
                  <a:cubicBezTo>
                    <a:pt x="909" y="33"/>
                    <a:pt x="846" y="0"/>
                    <a:pt x="77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5" name="Google Shape;185;p3"/>
            <p:cNvSpPr/>
            <p:nvPr/>
          </p:nvSpPr>
          <p:spPr>
            <a:xfrm flipH="1">
              <a:off x="5559360" y="4397633"/>
              <a:ext cx="82136" cy="104462"/>
            </a:xfrm>
            <a:custGeom>
              <a:avLst/>
              <a:gdLst/>
              <a:ahLst/>
              <a:cxnLst/>
              <a:rect l="l" t="t" r="r" b="b"/>
              <a:pathLst>
                <a:path w="699" h="889" extrusionOk="0">
                  <a:moveTo>
                    <a:pt x="107" y="1"/>
                  </a:moveTo>
                  <a:cubicBezTo>
                    <a:pt x="64" y="1"/>
                    <a:pt x="43" y="1"/>
                    <a:pt x="22" y="43"/>
                  </a:cubicBezTo>
                  <a:cubicBezTo>
                    <a:pt x="22" y="64"/>
                    <a:pt x="1" y="106"/>
                    <a:pt x="22" y="127"/>
                  </a:cubicBezTo>
                  <a:cubicBezTo>
                    <a:pt x="1" y="360"/>
                    <a:pt x="64" y="572"/>
                    <a:pt x="191" y="741"/>
                  </a:cubicBezTo>
                  <a:lnTo>
                    <a:pt x="508" y="889"/>
                  </a:lnTo>
                  <a:lnTo>
                    <a:pt x="593" y="656"/>
                  </a:lnTo>
                  <a:cubicBezTo>
                    <a:pt x="635" y="572"/>
                    <a:pt x="656" y="466"/>
                    <a:pt x="678" y="360"/>
                  </a:cubicBezTo>
                  <a:cubicBezTo>
                    <a:pt x="699" y="254"/>
                    <a:pt x="678" y="170"/>
                    <a:pt x="635" y="64"/>
                  </a:cubicBezTo>
                  <a:cubicBezTo>
                    <a:pt x="614" y="64"/>
                    <a:pt x="614" y="43"/>
                    <a:pt x="593" y="43"/>
                  </a:cubicBezTo>
                  <a:cubicBezTo>
                    <a:pt x="582" y="37"/>
                    <a:pt x="570" y="35"/>
                    <a:pt x="559" y="35"/>
                  </a:cubicBezTo>
                  <a:cubicBezTo>
                    <a:pt x="528" y="35"/>
                    <a:pt x="497" y="54"/>
                    <a:pt x="466" y="85"/>
                  </a:cubicBezTo>
                  <a:cubicBezTo>
                    <a:pt x="381" y="170"/>
                    <a:pt x="339" y="275"/>
                    <a:pt x="318" y="402"/>
                  </a:cubicBezTo>
                  <a:cubicBezTo>
                    <a:pt x="276" y="297"/>
                    <a:pt x="233" y="191"/>
                    <a:pt x="191" y="85"/>
                  </a:cubicBezTo>
                  <a:cubicBezTo>
                    <a:pt x="170" y="43"/>
                    <a:pt x="149" y="1"/>
                    <a:pt x="10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6" name="Google Shape;186;p3"/>
            <p:cNvSpPr/>
            <p:nvPr/>
          </p:nvSpPr>
          <p:spPr>
            <a:xfrm flipH="1">
              <a:off x="8973937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7" name="Google Shape;187;p3"/>
            <p:cNvSpPr/>
            <p:nvPr/>
          </p:nvSpPr>
          <p:spPr>
            <a:xfrm flipH="1">
              <a:off x="4806388" y="5369753"/>
              <a:ext cx="489643" cy="227490"/>
            </a:xfrm>
            <a:custGeom>
              <a:avLst/>
              <a:gdLst/>
              <a:ahLst/>
              <a:cxnLst/>
              <a:rect l="l" t="t" r="r" b="b"/>
              <a:pathLst>
                <a:path w="4167" h="1936" extrusionOk="0">
                  <a:moveTo>
                    <a:pt x="1866" y="0"/>
                  </a:moveTo>
                  <a:cubicBezTo>
                    <a:pt x="1359" y="0"/>
                    <a:pt x="855" y="102"/>
                    <a:pt x="381" y="314"/>
                  </a:cubicBezTo>
                  <a:cubicBezTo>
                    <a:pt x="297" y="335"/>
                    <a:pt x="233" y="378"/>
                    <a:pt x="170" y="441"/>
                  </a:cubicBezTo>
                  <a:cubicBezTo>
                    <a:pt x="1" y="631"/>
                    <a:pt x="149" y="949"/>
                    <a:pt x="339" y="1118"/>
                  </a:cubicBezTo>
                  <a:cubicBezTo>
                    <a:pt x="868" y="1628"/>
                    <a:pt x="1935" y="1935"/>
                    <a:pt x="2730" y="1935"/>
                  </a:cubicBezTo>
                  <a:cubicBezTo>
                    <a:pt x="2826" y="1935"/>
                    <a:pt x="2918" y="1931"/>
                    <a:pt x="3004" y="1922"/>
                  </a:cubicBezTo>
                  <a:cubicBezTo>
                    <a:pt x="4167" y="1773"/>
                    <a:pt x="3892" y="420"/>
                    <a:pt x="2919" y="145"/>
                  </a:cubicBezTo>
                  <a:cubicBezTo>
                    <a:pt x="2572" y="50"/>
                    <a:pt x="2218" y="0"/>
                    <a:pt x="18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8" name="Google Shape;188;p3"/>
            <p:cNvSpPr/>
            <p:nvPr/>
          </p:nvSpPr>
          <p:spPr>
            <a:xfrm flipH="1">
              <a:off x="4488302" y="5229334"/>
              <a:ext cx="355453" cy="173320"/>
            </a:xfrm>
            <a:custGeom>
              <a:avLst/>
              <a:gdLst/>
              <a:ahLst/>
              <a:cxnLst/>
              <a:rect l="l" t="t" r="r" b="b"/>
              <a:pathLst>
                <a:path w="3025" h="1475" extrusionOk="0">
                  <a:moveTo>
                    <a:pt x="1287" y="0"/>
                  </a:moveTo>
                  <a:cubicBezTo>
                    <a:pt x="1225" y="0"/>
                    <a:pt x="1163" y="3"/>
                    <a:pt x="1101" y="8"/>
                  </a:cubicBezTo>
                  <a:cubicBezTo>
                    <a:pt x="762" y="8"/>
                    <a:pt x="445" y="134"/>
                    <a:pt x="191" y="367"/>
                  </a:cubicBezTo>
                  <a:cubicBezTo>
                    <a:pt x="64" y="494"/>
                    <a:pt x="1" y="705"/>
                    <a:pt x="43" y="896"/>
                  </a:cubicBezTo>
                  <a:cubicBezTo>
                    <a:pt x="188" y="1286"/>
                    <a:pt x="794" y="1474"/>
                    <a:pt x="1402" y="1474"/>
                  </a:cubicBezTo>
                  <a:cubicBezTo>
                    <a:pt x="2211" y="1474"/>
                    <a:pt x="3025" y="1143"/>
                    <a:pt x="2771" y="515"/>
                  </a:cubicBezTo>
                  <a:cubicBezTo>
                    <a:pt x="2750" y="452"/>
                    <a:pt x="2708" y="431"/>
                    <a:pt x="2666" y="388"/>
                  </a:cubicBezTo>
                  <a:cubicBezTo>
                    <a:pt x="2253" y="144"/>
                    <a:pt x="1774" y="0"/>
                    <a:pt x="12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9" name="Google Shape;189;p3"/>
            <p:cNvSpPr/>
            <p:nvPr/>
          </p:nvSpPr>
          <p:spPr>
            <a:xfrm flipH="1">
              <a:off x="8320375" y="5367285"/>
              <a:ext cx="494696" cy="151346"/>
            </a:xfrm>
            <a:custGeom>
              <a:avLst/>
              <a:gdLst/>
              <a:ahLst/>
              <a:cxnLst/>
              <a:rect l="l" t="t" r="r" b="b"/>
              <a:pathLst>
                <a:path w="4210" h="1288" extrusionOk="0">
                  <a:moveTo>
                    <a:pt x="2375" y="1"/>
                  </a:moveTo>
                  <a:cubicBezTo>
                    <a:pt x="1870" y="1"/>
                    <a:pt x="1352" y="85"/>
                    <a:pt x="932" y="187"/>
                  </a:cubicBezTo>
                  <a:cubicBezTo>
                    <a:pt x="868" y="208"/>
                    <a:pt x="784" y="229"/>
                    <a:pt x="741" y="272"/>
                  </a:cubicBezTo>
                  <a:cubicBezTo>
                    <a:pt x="1" y="843"/>
                    <a:pt x="1651" y="1287"/>
                    <a:pt x="1947" y="1287"/>
                  </a:cubicBezTo>
                  <a:cubicBezTo>
                    <a:pt x="2028" y="1287"/>
                    <a:pt x="2113" y="1287"/>
                    <a:pt x="2201" y="1287"/>
                  </a:cubicBezTo>
                  <a:cubicBezTo>
                    <a:pt x="2686" y="1287"/>
                    <a:pt x="3251" y="1272"/>
                    <a:pt x="3681" y="1075"/>
                  </a:cubicBezTo>
                  <a:cubicBezTo>
                    <a:pt x="4210" y="822"/>
                    <a:pt x="4083" y="462"/>
                    <a:pt x="3575" y="229"/>
                  </a:cubicBezTo>
                  <a:cubicBezTo>
                    <a:pt x="3233" y="63"/>
                    <a:pt x="2809" y="1"/>
                    <a:pt x="237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0" name="Google Shape;190;p3"/>
            <p:cNvSpPr/>
            <p:nvPr/>
          </p:nvSpPr>
          <p:spPr>
            <a:xfrm flipH="1">
              <a:off x="7789487" y="5510642"/>
              <a:ext cx="570722" cy="242648"/>
            </a:xfrm>
            <a:custGeom>
              <a:avLst/>
              <a:gdLst/>
              <a:ahLst/>
              <a:cxnLst/>
              <a:rect l="l" t="t" r="r" b="b"/>
              <a:pathLst>
                <a:path w="4857" h="2065" extrusionOk="0">
                  <a:moveTo>
                    <a:pt x="2199" y="1"/>
                  </a:moveTo>
                  <a:cubicBezTo>
                    <a:pt x="1526" y="1"/>
                    <a:pt x="856" y="228"/>
                    <a:pt x="318" y="680"/>
                  </a:cubicBezTo>
                  <a:cubicBezTo>
                    <a:pt x="127" y="807"/>
                    <a:pt x="21" y="997"/>
                    <a:pt x="0" y="1209"/>
                  </a:cubicBezTo>
                  <a:cubicBezTo>
                    <a:pt x="21" y="1420"/>
                    <a:pt x="148" y="1611"/>
                    <a:pt x="339" y="1695"/>
                  </a:cubicBezTo>
                  <a:cubicBezTo>
                    <a:pt x="805" y="1995"/>
                    <a:pt x="1340" y="2050"/>
                    <a:pt x="1885" y="2050"/>
                  </a:cubicBezTo>
                  <a:cubicBezTo>
                    <a:pt x="2202" y="2050"/>
                    <a:pt x="2523" y="2031"/>
                    <a:pt x="2835" y="2031"/>
                  </a:cubicBezTo>
                  <a:cubicBezTo>
                    <a:pt x="3007" y="2031"/>
                    <a:pt x="3177" y="2037"/>
                    <a:pt x="3342" y="2055"/>
                  </a:cubicBezTo>
                  <a:cubicBezTo>
                    <a:pt x="3395" y="2061"/>
                    <a:pt x="3448" y="2064"/>
                    <a:pt x="3499" y="2064"/>
                  </a:cubicBezTo>
                  <a:cubicBezTo>
                    <a:pt x="4323" y="2064"/>
                    <a:pt x="4856" y="1295"/>
                    <a:pt x="4040" y="638"/>
                  </a:cubicBezTo>
                  <a:cubicBezTo>
                    <a:pt x="3500" y="212"/>
                    <a:pt x="2848" y="1"/>
                    <a:pt x="219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1" name="Google Shape;191;p3"/>
            <p:cNvSpPr/>
            <p:nvPr/>
          </p:nvSpPr>
          <p:spPr>
            <a:xfrm flipH="1">
              <a:off x="8936688" y="5451889"/>
              <a:ext cx="77083" cy="121383"/>
            </a:xfrm>
            <a:custGeom>
              <a:avLst/>
              <a:gdLst/>
              <a:ahLst/>
              <a:cxnLst/>
              <a:rect l="l" t="t" r="r" b="b"/>
              <a:pathLst>
                <a:path w="656" h="1033" extrusionOk="0">
                  <a:moveTo>
                    <a:pt x="181" y="0"/>
                  </a:moveTo>
                  <a:cubicBezTo>
                    <a:pt x="162" y="0"/>
                    <a:pt x="144" y="6"/>
                    <a:pt x="127" y="17"/>
                  </a:cubicBezTo>
                  <a:cubicBezTo>
                    <a:pt x="42" y="38"/>
                    <a:pt x="0" y="144"/>
                    <a:pt x="42" y="207"/>
                  </a:cubicBezTo>
                  <a:lnTo>
                    <a:pt x="360" y="926"/>
                  </a:lnTo>
                  <a:cubicBezTo>
                    <a:pt x="381" y="990"/>
                    <a:pt x="444" y="1032"/>
                    <a:pt x="486" y="1032"/>
                  </a:cubicBezTo>
                  <a:cubicBezTo>
                    <a:pt x="508" y="1032"/>
                    <a:pt x="529" y="1011"/>
                    <a:pt x="550" y="1011"/>
                  </a:cubicBezTo>
                  <a:cubicBezTo>
                    <a:pt x="635" y="990"/>
                    <a:pt x="656" y="884"/>
                    <a:pt x="635" y="821"/>
                  </a:cubicBezTo>
                  <a:lnTo>
                    <a:pt x="317" y="102"/>
                  </a:lnTo>
                  <a:cubicBezTo>
                    <a:pt x="286" y="40"/>
                    <a:pt x="233" y="0"/>
                    <a:pt x="18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2" name="Google Shape;192;p3"/>
            <p:cNvSpPr/>
            <p:nvPr/>
          </p:nvSpPr>
          <p:spPr>
            <a:xfrm flipH="1">
              <a:off x="8874528" y="5399129"/>
              <a:ext cx="42419" cy="154167"/>
            </a:xfrm>
            <a:custGeom>
              <a:avLst/>
              <a:gdLst/>
              <a:ahLst/>
              <a:cxnLst/>
              <a:rect l="l" t="t" r="r" b="b"/>
              <a:pathLst>
                <a:path w="361" h="1312" extrusionOk="0">
                  <a:moveTo>
                    <a:pt x="212" y="1"/>
                  </a:moveTo>
                  <a:cubicBezTo>
                    <a:pt x="128" y="1"/>
                    <a:pt x="43" y="64"/>
                    <a:pt x="43" y="149"/>
                  </a:cubicBezTo>
                  <a:lnTo>
                    <a:pt x="1" y="1164"/>
                  </a:lnTo>
                  <a:cubicBezTo>
                    <a:pt x="1" y="1249"/>
                    <a:pt x="64" y="1312"/>
                    <a:pt x="149" y="1312"/>
                  </a:cubicBezTo>
                  <a:cubicBezTo>
                    <a:pt x="233" y="1312"/>
                    <a:pt x="297" y="1249"/>
                    <a:pt x="297" y="1164"/>
                  </a:cubicBezTo>
                  <a:lnTo>
                    <a:pt x="339" y="170"/>
                  </a:lnTo>
                  <a:cubicBezTo>
                    <a:pt x="360" y="85"/>
                    <a:pt x="297" y="22"/>
                    <a:pt x="21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3" name="Google Shape;193;p3"/>
            <p:cNvSpPr/>
            <p:nvPr/>
          </p:nvSpPr>
          <p:spPr>
            <a:xfrm flipH="1">
              <a:off x="7388443" y="5654585"/>
              <a:ext cx="73088" cy="114920"/>
            </a:xfrm>
            <a:custGeom>
              <a:avLst/>
              <a:gdLst/>
              <a:ahLst/>
              <a:cxnLst/>
              <a:rect l="l" t="t" r="r" b="b"/>
              <a:pathLst>
                <a:path w="622" h="978" extrusionOk="0">
                  <a:moveTo>
                    <a:pt x="170" y="0"/>
                  </a:moveTo>
                  <a:cubicBezTo>
                    <a:pt x="82" y="0"/>
                    <a:pt x="0" y="72"/>
                    <a:pt x="30" y="174"/>
                  </a:cubicBezTo>
                  <a:lnTo>
                    <a:pt x="326" y="893"/>
                  </a:lnTo>
                  <a:cubicBezTo>
                    <a:pt x="368" y="957"/>
                    <a:pt x="410" y="978"/>
                    <a:pt x="474" y="978"/>
                  </a:cubicBezTo>
                  <a:lnTo>
                    <a:pt x="516" y="978"/>
                  </a:lnTo>
                  <a:cubicBezTo>
                    <a:pt x="601" y="936"/>
                    <a:pt x="622" y="851"/>
                    <a:pt x="601" y="788"/>
                  </a:cubicBezTo>
                  <a:lnTo>
                    <a:pt x="283" y="47"/>
                  </a:lnTo>
                  <a:cubicBezTo>
                    <a:pt x="251" y="15"/>
                    <a:pt x="210" y="0"/>
                    <a:pt x="17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4" name="Google Shape;194;p3"/>
            <p:cNvSpPr/>
            <p:nvPr/>
          </p:nvSpPr>
          <p:spPr>
            <a:xfrm flipH="1">
              <a:off x="7326283" y="5597948"/>
              <a:ext cx="42419" cy="154167"/>
            </a:xfrm>
            <a:custGeom>
              <a:avLst/>
              <a:gdLst/>
              <a:ahLst/>
              <a:cxnLst/>
              <a:rect l="l" t="t" r="r" b="b"/>
              <a:pathLst>
                <a:path w="361" h="1312" extrusionOk="0">
                  <a:moveTo>
                    <a:pt x="212" y="1"/>
                  </a:moveTo>
                  <a:cubicBezTo>
                    <a:pt x="128" y="1"/>
                    <a:pt x="64" y="64"/>
                    <a:pt x="64" y="149"/>
                  </a:cubicBezTo>
                  <a:lnTo>
                    <a:pt x="22" y="1143"/>
                  </a:lnTo>
                  <a:cubicBezTo>
                    <a:pt x="1" y="1227"/>
                    <a:pt x="64" y="1312"/>
                    <a:pt x="149" y="1312"/>
                  </a:cubicBezTo>
                  <a:cubicBezTo>
                    <a:pt x="234" y="1312"/>
                    <a:pt x="318" y="1248"/>
                    <a:pt x="318" y="1164"/>
                  </a:cubicBezTo>
                  <a:lnTo>
                    <a:pt x="360" y="170"/>
                  </a:lnTo>
                  <a:cubicBezTo>
                    <a:pt x="360" y="85"/>
                    <a:pt x="297" y="1"/>
                    <a:pt x="21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5" name="Google Shape;195;p3"/>
            <p:cNvSpPr/>
            <p:nvPr/>
          </p:nvSpPr>
          <p:spPr>
            <a:xfrm flipH="1">
              <a:off x="8827291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6" name="Google Shape;196;p3"/>
            <p:cNvSpPr/>
            <p:nvPr/>
          </p:nvSpPr>
          <p:spPr>
            <a:xfrm flipH="1">
              <a:off x="8765014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7" name="Google Shape;197;p3"/>
            <p:cNvSpPr/>
            <p:nvPr/>
          </p:nvSpPr>
          <p:spPr>
            <a:xfrm flipH="1">
              <a:off x="5228819" y="4736166"/>
              <a:ext cx="77201" cy="121383"/>
            </a:xfrm>
            <a:custGeom>
              <a:avLst/>
              <a:gdLst/>
              <a:ahLst/>
              <a:cxnLst/>
              <a:rect l="l" t="t" r="r" b="b"/>
              <a:pathLst>
                <a:path w="657" h="1033" extrusionOk="0">
                  <a:moveTo>
                    <a:pt x="484" y="0"/>
                  </a:moveTo>
                  <a:cubicBezTo>
                    <a:pt x="425" y="0"/>
                    <a:pt x="376" y="40"/>
                    <a:pt x="361" y="102"/>
                  </a:cubicBezTo>
                  <a:lnTo>
                    <a:pt x="43" y="821"/>
                  </a:lnTo>
                  <a:cubicBezTo>
                    <a:pt x="1" y="884"/>
                    <a:pt x="43" y="990"/>
                    <a:pt x="128" y="1011"/>
                  </a:cubicBezTo>
                  <a:cubicBezTo>
                    <a:pt x="128" y="1032"/>
                    <a:pt x="149" y="1032"/>
                    <a:pt x="170" y="1032"/>
                  </a:cubicBezTo>
                  <a:cubicBezTo>
                    <a:pt x="234" y="1032"/>
                    <a:pt x="297" y="990"/>
                    <a:pt x="318" y="926"/>
                  </a:cubicBezTo>
                  <a:lnTo>
                    <a:pt x="635" y="207"/>
                  </a:lnTo>
                  <a:cubicBezTo>
                    <a:pt x="657" y="144"/>
                    <a:pt x="635" y="59"/>
                    <a:pt x="551" y="17"/>
                  </a:cubicBezTo>
                  <a:cubicBezTo>
                    <a:pt x="528" y="6"/>
                    <a:pt x="506" y="0"/>
                    <a:pt x="48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8" name="Google Shape;198;p3"/>
            <p:cNvSpPr/>
            <p:nvPr/>
          </p:nvSpPr>
          <p:spPr>
            <a:xfrm flipH="1">
              <a:off x="5323293" y="4686226"/>
              <a:ext cx="42302" cy="151346"/>
            </a:xfrm>
            <a:custGeom>
              <a:avLst/>
              <a:gdLst/>
              <a:ahLst/>
              <a:cxnLst/>
              <a:rect l="l" t="t" r="r" b="b"/>
              <a:pathLst>
                <a:path w="360" h="1288" extrusionOk="0">
                  <a:moveTo>
                    <a:pt x="155" y="0"/>
                  </a:moveTo>
                  <a:cubicBezTo>
                    <a:pt x="84" y="0"/>
                    <a:pt x="11" y="48"/>
                    <a:pt x="0" y="146"/>
                  </a:cubicBezTo>
                  <a:lnTo>
                    <a:pt x="64" y="1140"/>
                  </a:lnTo>
                  <a:cubicBezTo>
                    <a:pt x="64" y="1225"/>
                    <a:pt x="127" y="1288"/>
                    <a:pt x="212" y="1288"/>
                  </a:cubicBezTo>
                  <a:cubicBezTo>
                    <a:pt x="296" y="1288"/>
                    <a:pt x="360" y="1225"/>
                    <a:pt x="360" y="1140"/>
                  </a:cubicBezTo>
                  <a:lnTo>
                    <a:pt x="296" y="125"/>
                  </a:lnTo>
                  <a:cubicBezTo>
                    <a:pt x="286" y="43"/>
                    <a:pt x="221" y="0"/>
                    <a:pt x="15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9" name="Google Shape;199;p3"/>
            <p:cNvSpPr/>
            <p:nvPr/>
          </p:nvSpPr>
          <p:spPr>
            <a:xfrm flipH="1">
              <a:off x="480219" y="4139300"/>
              <a:ext cx="83963" cy="114968"/>
            </a:xfrm>
            <a:custGeom>
              <a:avLst/>
              <a:gdLst/>
              <a:ahLst/>
              <a:cxnLst/>
              <a:rect l="l" t="t" r="r" b="b"/>
              <a:pathLst>
                <a:path w="742" h="1016" extrusionOk="0">
                  <a:moveTo>
                    <a:pt x="128" y="1"/>
                  </a:moveTo>
                  <a:cubicBezTo>
                    <a:pt x="86" y="1"/>
                    <a:pt x="43" y="22"/>
                    <a:pt x="22" y="64"/>
                  </a:cubicBezTo>
                  <a:cubicBezTo>
                    <a:pt x="22" y="85"/>
                    <a:pt x="1" y="128"/>
                    <a:pt x="1" y="149"/>
                  </a:cubicBezTo>
                  <a:cubicBezTo>
                    <a:pt x="1" y="403"/>
                    <a:pt x="43" y="635"/>
                    <a:pt x="170" y="826"/>
                  </a:cubicBezTo>
                  <a:lnTo>
                    <a:pt x="509" y="1016"/>
                  </a:lnTo>
                  <a:lnTo>
                    <a:pt x="614" y="762"/>
                  </a:lnTo>
                  <a:cubicBezTo>
                    <a:pt x="657" y="656"/>
                    <a:pt x="699" y="551"/>
                    <a:pt x="720" y="445"/>
                  </a:cubicBezTo>
                  <a:cubicBezTo>
                    <a:pt x="741" y="339"/>
                    <a:pt x="741" y="212"/>
                    <a:pt x="678" y="128"/>
                  </a:cubicBezTo>
                  <a:cubicBezTo>
                    <a:pt x="678" y="106"/>
                    <a:pt x="657" y="85"/>
                    <a:pt x="657" y="85"/>
                  </a:cubicBezTo>
                  <a:cubicBezTo>
                    <a:pt x="644" y="73"/>
                    <a:pt x="630" y="68"/>
                    <a:pt x="615" y="68"/>
                  </a:cubicBezTo>
                  <a:cubicBezTo>
                    <a:pt x="579" y="68"/>
                    <a:pt x="538" y="98"/>
                    <a:pt x="509" y="128"/>
                  </a:cubicBezTo>
                  <a:cubicBezTo>
                    <a:pt x="424" y="212"/>
                    <a:pt x="360" y="318"/>
                    <a:pt x="318" y="466"/>
                  </a:cubicBezTo>
                  <a:cubicBezTo>
                    <a:pt x="297" y="339"/>
                    <a:pt x="255" y="212"/>
                    <a:pt x="212" y="106"/>
                  </a:cubicBezTo>
                  <a:cubicBezTo>
                    <a:pt x="191" y="64"/>
                    <a:pt x="170" y="1"/>
                    <a:pt x="128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0" name="Google Shape;200;p3"/>
            <p:cNvSpPr/>
            <p:nvPr/>
          </p:nvSpPr>
          <p:spPr>
            <a:xfrm flipH="1">
              <a:off x="209773" y="4150389"/>
              <a:ext cx="110215" cy="123115"/>
            </a:xfrm>
            <a:custGeom>
              <a:avLst/>
              <a:gdLst/>
              <a:ahLst/>
              <a:cxnLst/>
              <a:rect l="l" t="t" r="r" b="b"/>
              <a:pathLst>
                <a:path w="974" h="1088" extrusionOk="0">
                  <a:moveTo>
                    <a:pt x="123" y="0"/>
                  </a:moveTo>
                  <a:cubicBezTo>
                    <a:pt x="85" y="0"/>
                    <a:pt x="58" y="20"/>
                    <a:pt x="42" y="51"/>
                  </a:cubicBezTo>
                  <a:cubicBezTo>
                    <a:pt x="21" y="72"/>
                    <a:pt x="21" y="114"/>
                    <a:pt x="21" y="156"/>
                  </a:cubicBezTo>
                  <a:cubicBezTo>
                    <a:pt x="0" y="431"/>
                    <a:pt x="85" y="685"/>
                    <a:pt x="233" y="897"/>
                  </a:cubicBezTo>
                  <a:lnTo>
                    <a:pt x="698" y="1087"/>
                  </a:lnTo>
                  <a:lnTo>
                    <a:pt x="825" y="812"/>
                  </a:lnTo>
                  <a:cubicBezTo>
                    <a:pt x="888" y="706"/>
                    <a:pt x="931" y="601"/>
                    <a:pt x="952" y="474"/>
                  </a:cubicBezTo>
                  <a:cubicBezTo>
                    <a:pt x="973" y="368"/>
                    <a:pt x="952" y="241"/>
                    <a:pt x="888" y="135"/>
                  </a:cubicBezTo>
                  <a:cubicBezTo>
                    <a:pt x="888" y="114"/>
                    <a:pt x="867" y="93"/>
                    <a:pt x="867" y="93"/>
                  </a:cubicBezTo>
                  <a:cubicBezTo>
                    <a:pt x="841" y="84"/>
                    <a:pt x="811" y="79"/>
                    <a:pt x="782" y="79"/>
                  </a:cubicBezTo>
                  <a:cubicBezTo>
                    <a:pt x="741" y="79"/>
                    <a:pt x="702" y="89"/>
                    <a:pt x="677" y="114"/>
                  </a:cubicBezTo>
                  <a:cubicBezTo>
                    <a:pt x="550" y="220"/>
                    <a:pt x="465" y="347"/>
                    <a:pt x="444" y="495"/>
                  </a:cubicBezTo>
                  <a:cubicBezTo>
                    <a:pt x="381" y="347"/>
                    <a:pt x="339" y="220"/>
                    <a:pt x="275" y="93"/>
                  </a:cubicBezTo>
                  <a:cubicBezTo>
                    <a:pt x="254" y="51"/>
                    <a:pt x="212" y="8"/>
                    <a:pt x="169" y="8"/>
                  </a:cubicBezTo>
                  <a:cubicBezTo>
                    <a:pt x="152" y="3"/>
                    <a:pt x="137" y="0"/>
                    <a:pt x="123" y="0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1" name="Google Shape;201;p3"/>
            <p:cNvSpPr/>
            <p:nvPr/>
          </p:nvSpPr>
          <p:spPr>
            <a:xfrm flipH="1">
              <a:off x="-139561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rgbClr val="79AD78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2" name="Google Shape;202;p3"/>
            <p:cNvSpPr/>
            <p:nvPr/>
          </p:nvSpPr>
          <p:spPr>
            <a:xfrm flipH="1">
              <a:off x="221767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3" name="Google Shape;203;p3"/>
            <p:cNvSpPr/>
            <p:nvPr/>
          </p:nvSpPr>
          <p:spPr>
            <a:xfrm flipH="1">
              <a:off x="-101297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4" name="Google Shape;204;p3"/>
            <p:cNvSpPr/>
            <p:nvPr/>
          </p:nvSpPr>
          <p:spPr>
            <a:xfrm flipH="1">
              <a:off x="-70178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5" name="Google Shape;205;p3"/>
            <p:cNvSpPr/>
            <p:nvPr/>
          </p:nvSpPr>
          <p:spPr>
            <a:xfrm flipH="1">
              <a:off x="11182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6" name="Google Shape;206;p3"/>
            <p:cNvSpPr/>
            <p:nvPr/>
          </p:nvSpPr>
          <p:spPr>
            <a:xfrm flipH="1">
              <a:off x="324737" y="5213837"/>
              <a:ext cx="1498205" cy="299302"/>
            </a:xfrm>
            <a:custGeom>
              <a:avLst/>
              <a:gdLst/>
              <a:ahLst/>
              <a:cxnLst/>
              <a:rect l="l" t="t" r="r" b="b"/>
              <a:pathLst>
                <a:path w="13240" h="2645" extrusionOk="0">
                  <a:moveTo>
                    <a:pt x="6620" y="1"/>
                  </a:moveTo>
                  <a:cubicBezTo>
                    <a:pt x="2961" y="1"/>
                    <a:pt x="0" y="593"/>
                    <a:pt x="0" y="1333"/>
                  </a:cubicBezTo>
                  <a:cubicBezTo>
                    <a:pt x="0" y="2052"/>
                    <a:pt x="2961" y="2644"/>
                    <a:pt x="6620" y="2644"/>
                  </a:cubicBezTo>
                  <a:cubicBezTo>
                    <a:pt x="10279" y="2644"/>
                    <a:pt x="13240" y="2052"/>
                    <a:pt x="13240" y="1333"/>
                  </a:cubicBezTo>
                  <a:cubicBezTo>
                    <a:pt x="13240" y="593"/>
                    <a:pt x="10279" y="1"/>
                    <a:pt x="6620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7" name="Google Shape;207;p3"/>
            <p:cNvSpPr/>
            <p:nvPr/>
          </p:nvSpPr>
          <p:spPr>
            <a:xfrm flipH="1">
              <a:off x="467036" y="4139300"/>
              <a:ext cx="83963" cy="114968"/>
            </a:xfrm>
            <a:custGeom>
              <a:avLst/>
              <a:gdLst/>
              <a:ahLst/>
              <a:cxnLst/>
              <a:rect l="l" t="t" r="r" b="b"/>
              <a:pathLst>
                <a:path w="742" h="1016" extrusionOk="0">
                  <a:moveTo>
                    <a:pt x="128" y="1"/>
                  </a:moveTo>
                  <a:cubicBezTo>
                    <a:pt x="86" y="1"/>
                    <a:pt x="43" y="22"/>
                    <a:pt x="22" y="64"/>
                  </a:cubicBezTo>
                  <a:cubicBezTo>
                    <a:pt x="22" y="85"/>
                    <a:pt x="1" y="128"/>
                    <a:pt x="1" y="149"/>
                  </a:cubicBezTo>
                  <a:cubicBezTo>
                    <a:pt x="1" y="403"/>
                    <a:pt x="43" y="635"/>
                    <a:pt x="170" y="826"/>
                  </a:cubicBezTo>
                  <a:lnTo>
                    <a:pt x="509" y="1016"/>
                  </a:lnTo>
                  <a:lnTo>
                    <a:pt x="614" y="762"/>
                  </a:lnTo>
                  <a:cubicBezTo>
                    <a:pt x="657" y="656"/>
                    <a:pt x="699" y="551"/>
                    <a:pt x="720" y="445"/>
                  </a:cubicBezTo>
                  <a:cubicBezTo>
                    <a:pt x="741" y="339"/>
                    <a:pt x="741" y="212"/>
                    <a:pt x="678" y="128"/>
                  </a:cubicBezTo>
                  <a:cubicBezTo>
                    <a:pt x="678" y="106"/>
                    <a:pt x="657" y="85"/>
                    <a:pt x="657" y="85"/>
                  </a:cubicBezTo>
                  <a:cubicBezTo>
                    <a:pt x="644" y="73"/>
                    <a:pt x="630" y="68"/>
                    <a:pt x="615" y="68"/>
                  </a:cubicBezTo>
                  <a:cubicBezTo>
                    <a:pt x="579" y="68"/>
                    <a:pt x="538" y="98"/>
                    <a:pt x="509" y="128"/>
                  </a:cubicBezTo>
                  <a:cubicBezTo>
                    <a:pt x="424" y="212"/>
                    <a:pt x="360" y="318"/>
                    <a:pt x="318" y="466"/>
                  </a:cubicBezTo>
                  <a:cubicBezTo>
                    <a:pt x="297" y="339"/>
                    <a:pt x="255" y="212"/>
                    <a:pt x="212" y="106"/>
                  </a:cubicBezTo>
                  <a:cubicBezTo>
                    <a:pt x="191" y="64"/>
                    <a:pt x="170" y="1"/>
                    <a:pt x="12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8" name="Google Shape;208;p3"/>
            <p:cNvSpPr/>
            <p:nvPr/>
          </p:nvSpPr>
          <p:spPr>
            <a:xfrm flipH="1">
              <a:off x="196590" y="4150389"/>
              <a:ext cx="110215" cy="123115"/>
            </a:xfrm>
            <a:custGeom>
              <a:avLst/>
              <a:gdLst/>
              <a:ahLst/>
              <a:cxnLst/>
              <a:rect l="l" t="t" r="r" b="b"/>
              <a:pathLst>
                <a:path w="974" h="1088" extrusionOk="0">
                  <a:moveTo>
                    <a:pt x="123" y="0"/>
                  </a:moveTo>
                  <a:cubicBezTo>
                    <a:pt x="85" y="0"/>
                    <a:pt x="58" y="20"/>
                    <a:pt x="42" y="51"/>
                  </a:cubicBezTo>
                  <a:cubicBezTo>
                    <a:pt x="21" y="72"/>
                    <a:pt x="21" y="114"/>
                    <a:pt x="21" y="156"/>
                  </a:cubicBezTo>
                  <a:cubicBezTo>
                    <a:pt x="0" y="431"/>
                    <a:pt x="85" y="685"/>
                    <a:pt x="233" y="897"/>
                  </a:cubicBezTo>
                  <a:lnTo>
                    <a:pt x="698" y="1087"/>
                  </a:lnTo>
                  <a:lnTo>
                    <a:pt x="825" y="812"/>
                  </a:lnTo>
                  <a:cubicBezTo>
                    <a:pt x="888" y="706"/>
                    <a:pt x="931" y="601"/>
                    <a:pt x="952" y="474"/>
                  </a:cubicBezTo>
                  <a:cubicBezTo>
                    <a:pt x="973" y="368"/>
                    <a:pt x="952" y="241"/>
                    <a:pt x="888" y="135"/>
                  </a:cubicBezTo>
                  <a:cubicBezTo>
                    <a:pt x="888" y="114"/>
                    <a:pt x="867" y="93"/>
                    <a:pt x="867" y="93"/>
                  </a:cubicBezTo>
                  <a:cubicBezTo>
                    <a:pt x="841" y="84"/>
                    <a:pt x="811" y="79"/>
                    <a:pt x="782" y="79"/>
                  </a:cubicBezTo>
                  <a:cubicBezTo>
                    <a:pt x="741" y="79"/>
                    <a:pt x="702" y="89"/>
                    <a:pt x="677" y="114"/>
                  </a:cubicBezTo>
                  <a:cubicBezTo>
                    <a:pt x="550" y="220"/>
                    <a:pt x="465" y="347"/>
                    <a:pt x="444" y="495"/>
                  </a:cubicBezTo>
                  <a:cubicBezTo>
                    <a:pt x="381" y="347"/>
                    <a:pt x="339" y="220"/>
                    <a:pt x="275" y="93"/>
                  </a:cubicBezTo>
                  <a:cubicBezTo>
                    <a:pt x="254" y="51"/>
                    <a:pt x="212" y="8"/>
                    <a:pt x="169" y="8"/>
                  </a:cubicBezTo>
                  <a:cubicBezTo>
                    <a:pt x="152" y="3"/>
                    <a:pt x="137" y="0"/>
                    <a:pt x="1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9" name="Google Shape;209;p3"/>
            <p:cNvSpPr/>
            <p:nvPr/>
          </p:nvSpPr>
          <p:spPr>
            <a:xfrm flipH="1">
              <a:off x="-152743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rgbClr val="1EFE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0" name="Google Shape;210;p3"/>
            <p:cNvSpPr/>
            <p:nvPr/>
          </p:nvSpPr>
          <p:spPr>
            <a:xfrm flipH="1">
              <a:off x="2911800" y="4544466"/>
              <a:ext cx="430904" cy="238875"/>
            </a:xfrm>
            <a:custGeom>
              <a:avLst/>
              <a:gdLst/>
              <a:ahLst/>
              <a:cxnLst/>
              <a:rect l="l" t="t" r="r" b="b"/>
              <a:pathLst>
                <a:path w="3808" h="2111" extrusionOk="0">
                  <a:moveTo>
                    <a:pt x="2242" y="0"/>
                  </a:moveTo>
                  <a:cubicBezTo>
                    <a:pt x="1840" y="0"/>
                    <a:pt x="1439" y="74"/>
                    <a:pt x="1058" y="222"/>
                  </a:cubicBezTo>
                  <a:cubicBezTo>
                    <a:pt x="170" y="582"/>
                    <a:pt x="0" y="2020"/>
                    <a:pt x="1100" y="2105"/>
                  </a:cubicBezTo>
                  <a:cubicBezTo>
                    <a:pt x="1149" y="2109"/>
                    <a:pt x="1199" y="2111"/>
                    <a:pt x="1250" y="2111"/>
                  </a:cubicBezTo>
                  <a:cubicBezTo>
                    <a:pt x="2007" y="2111"/>
                    <a:pt x="3057" y="1684"/>
                    <a:pt x="3532" y="1090"/>
                  </a:cubicBezTo>
                  <a:cubicBezTo>
                    <a:pt x="3680" y="878"/>
                    <a:pt x="3807" y="561"/>
                    <a:pt x="3638" y="349"/>
                  </a:cubicBezTo>
                  <a:cubicBezTo>
                    <a:pt x="3575" y="307"/>
                    <a:pt x="3511" y="244"/>
                    <a:pt x="3427" y="222"/>
                  </a:cubicBezTo>
                  <a:cubicBezTo>
                    <a:pt x="3046" y="74"/>
                    <a:pt x="2644" y="0"/>
                    <a:pt x="224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1" name="Google Shape;211;p3"/>
            <p:cNvSpPr/>
            <p:nvPr/>
          </p:nvSpPr>
          <p:spPr>
            <a:xfrm flipH="1">
              <a:off x="208584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" name="Google Shape;212;p3"/>
            <p:cNvSpPr/>
            <p:nvPr/>
          </p:nvSpPr>
          <p:spPr>
            <a:xfrm flipH="1">
              <a:off x="-114480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" name="Google Shape;213;p3"/>
            <p:cNvSpPr/>
            <p:nvPr/>
          </p:nvSpPr>
          <p:spPr>
            <a:xfrm flipH="1">
              <a:off x="3082890" y="4480920"/>
              <a:ext cx="62350" cy="125152"/>
            </a:xfrm>
            <a:custGeom>
              <a:avLst/>
              <a:gdLst/>
              <a:ahLst/>
              <a:cxnLst/>
              <a:rect l="l" t="t" r="r" b="b"/>
              <a:pathLst>
                <a:path w="551" h="1106" extrusionOk="0">
                  <a:moveTo>
                    <a:pt x="402" y="1"/>
                  </a:moveTo>
                  <a:cubicBezTo>
                    <a:pt x="334" y="1"/>
                    <a:pt x="276" y="42"/>
                    <a:pt x="276" y="112"/>
                  </a:cubicBezTo>
                  <a:lnTo>
                    <a:pt x="22" y="894"/>
                  </a:lnTo>
                  <a:cubicBezTo>
                    <a:pt x="1" y="979"/>
                    <a:pt x="22" y="1063"/>
                    <a:pt x="107" y="1106"/>
                  </a:cubicBezTo>
                  <a:lnTo>
                    <a:pt x="170" y="1106"/>
                  </a:lnTo>
                  <a:cubicBezTo>
                    <a:pt x="212" y="1106"/>
                    <a:pt x="276" y="1063"/>
                    <a:pt x="276" y="1000"/>
                  </a:cubicBezTo>
                  <a:lnTo>
                    <a:pt x="530" y="218"/>
                  </a:lnTo>
                  <a:cubicBezTo>
                    <a:pt x="551" y="133"/>
                    <a:pt x="509" y="48"/>
                    <a:pt x="445" y="6"/>
                  </a:cubicBezTo>
                  <a:cubicBezTo>
                    <a:pt x="431" y="2"/>
                    <a:pt x="416" y="1"/>
                    <a:pt x="40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" name="Google Shape;214;p3"/>
            <p:cNvSpPr/>
            <p:nvPr/>
          </p:nvSpPr>
          <p:spPr>
            <a:xfrm flipH="1">
              <a:off x="3164250" y="4435658"/>
              <a:ext cx="45602" cy="156044"/>
            </a:xfrm>
            <a:custGeom>
              <a:avLst/>
              <a:gdLst/>
              <a:ahLst/>
              <a:cxnLst/>
              <a:rect l="l" t="t" r="r" b="b"/>
              <a:pathLst>
                <a:path w="403" h="1379" extrusionOk="0">
                  <a:moveTo>
                    <a:pt x="160" y="0"/>
                  </a:moveTo>
                  <a:cubicBezTo>
                    <a:pt x="150" y="0"/>
                    <a:pt x="139" y="1"/>
                    <a:pt x="128" y="4"/>
                  </a:cubicBezTo>
                  <a:cubicBezTo>
                    <a:pt x="43" y="25"/>
                    <a:pt x="1" y="89"/>
                    <a:pt x="1" y="173"/>
                  </a:cubicBezTo>
                  <a:lnTo>
                    <a:pt x="107" y="1231"/>
                  </a:lnTo>
                  <a:cubicBezTo>
                    <a:pt x="107" y="1315"/>
                    <a:pt x="191" y="1379"/>
                    <a:pt x="276" y="1379"/>
                  </a:cubicBezTo>
                  <a:cubicBezTo>
                    <a:pt x="339" y="1358"/>
                    <a:pt x="403" y="1273"/>
                    <a:pt x="382" y="1189"/>
                  </a:cubicBezTo>
                  <a:lnTo>
                    <a:pt x="276" y="131"/>
                  </a:lnTo>
                  <a:cubicBezTo>
                    <a:pt x="276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" name="Google Shape;215;p3"/>
            <p:cNvSpPr/>
            <p:nvPr/>
          </p:nvSpPr>
          <p:spPr>
            <a:xfrm flipH="1">
              <a:off x="-83361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" name="Google Shape;216;p3"/>
            <p:cNvSpPr/>
            <p:nvPr/>
          </p:nvSpPr>
          <p:spPr>
            <a:xfrm flipH="1">
              <a:off x="-2001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" name="Google Shape;217;p3"/>
            <p:cNvSpPr/>
            <p:nvPr/>
          </p:nvSpPr>
          <p:spPr>
            <a:xfrm flipH="1">
              <a:off x="5200853" y="5312397"/>
              <a:ext cx="74344" cy="119381"/>
            </a:xfrm>
            <a:custGeom>
              <a:avLst/>
              <a:gdLst/>
              <a:ahLst/>
              <a:cxnLst/>
              <a:rect l="l" t="t" r="r" b="b"/>
              <a:pathLst>
                <a:path w="657" h="1055" extrusionOk="0">
                  <a:moveTo>
                    <a:pt x="163" y="1"/>
                  </a:moveTo>
                  <a:cubicBezTo>
                    <a:pt x="144" y="1"/>
                    <a:pt x="124" y="6"/>
                    <a:pt x="107" y="18"/>
                  </a:cubicBezTo>
                  <a:cubicBezTo>
                    <a:pt x="43" y="60"/>
                    <a:pt x="1" y="166"/>
                    <a:pt x="43" y="229"/>
                  </a:cubicBezTo>
                  <a:lnTo>
                    <a:pt x="382" y="970"/>
                  </a:lnTo>
                  <a:cubicBezTo>
                    <a:pt x="403" y="1033"/>
                    <a:pt x="445" y="1054"/>
                    <a:pt x="509" y="1054"/>
                  </a:cubicBezTo>
                  <a:lnTo>
                    <a:pt x="572" y="1054"/>
                  </a:lnTo>
                  <a:cubicBezTo>
                    <a:pt x="635" y="991"/>
                    <a:pt x="657" y="906"/>
                    <a:pt x="635" y="822"/>
                  </a:cubicBezTo>
                  <a:lnTo>
                    <a:pt x="297" y="81"/>
                  </a:lnTo>
                  <a:cubicBezTo>
                    <a:pt x="267" y="36"/>
                    <a:pt x="214" y="1"/>
                    <a:pt x="16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" name="Google Shape;218;p3"/>
            <p:cNvSpPr/>
            <p:nvPr/>
          </p:nvSpPr>
          <p:spPr>
            <a:xfrm flipH="1">
              <a:off x="5152988" y="5254574"/>
              <a:ext cx="33608" cy="155592"/>
            </a:xfrm>
            <a:custGeom>
              <a:avLst/>
              <a:gdLst/>
              <a:ahLst/>
              <a:cxnLst/>
              <a:rect l="l" t="t" r="r" b="b"/>
              <a:pathLst>
                <a:path w="297" h="1375" extrusionOk="0">
                  <a:moveTo>
                    <a:pt x="149" y="0"/>
                  </a:moveTo>
                  <a:cubicBezTo>
                    <a:pt x="64" y="0"/>
                    <a:pt x="0" y="85"/>
                    <a:pt x="0" y="148"/>
                  </a:cubicBezTo>
                  <a:lnTo>
                    <a:pt x="22" y="1206"/>
                  </a:lnTo>
                  <a:cubicBezTo>
                    <a:pt x="22" y="1290"/>
                    <a:pt x="85" y="1375"/>
                    <a:pt x="170" y="1375"/>
                  </a:cubicBezTo>
                  <a:cubicBezTo>
                    <a:pt x="233" y="1354"/>
                    <a:pt x="297" y="1290"/>
                    <a:pt x="297" y="1206"/>
                  </a:cubicBezTo>
                  <a:lnTo>
                    <a:pt x="275" y="148"/>
                  </a:lnTo>
                  <a:cubicBezTo>
                    <a:pt x="275" y="64"/>
                    <a:pt x="212" y="0"/>
                    <a:pt x="14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" name="Google Shape;219;p3"/>
            <p:cNvSpPr/>
            <p:nvPr/>
          </p:nvSpPr>
          <p:spPr>
            <a:xfrm rot="-325182">
              <a:off x="985255" y="3580587"/>
              <a:ext cx="1894914" cy="1286191"/>
            </a:xfrm>
            <a:custGeom>
              <a:avLst/>
              <a:gdLst/>
              <a:ahLst/>
              <a:cxnLst/>
              <a:rect l="l" t="t" r="r" b="b"/>
              <a:pathLst>
                <a:path w="21087" h="14313" extrusionOk="0">
                  <a:moveTo>
                    <a:pt x="8381" y="0"/>
                  </a:moveTo>
                  <a:cubicBezTo>
                    <a:pt x="8264" y="0"/>
                    <a:pt x="8155" y="25"/>
                    <a:pt x="8059" y="79"/>
                  </a:cubicBezTo>
                  <a:cubicBezTo>
                    <a:pt x="7192" y="566"/>
                    <a:pt x="8862" y="1856"/>
                    <a:pt x="8862" y="1856"/>
                  </a:cubicBezTo>
                  <a:cubicBezTo>
                    <a:pt x="8862" y="1856"/>
                    <a:pt x="7477" y="1216"/>
                    <a:pt x="6476" y="1216"/>
                  </a:cubicBezTo>
                  <a:cubicBezTo>
                    <a:pt x="6297" y="1216"/>
                    <a:pt x="6130" y="1237"/>
                    <a:pt x="5986" y="1285"/>
                  </a:cubicBezTo>
                  <a:cubicBezTo>
                    <a:pt x="5055" y="1602"/>
                    <a:pt x="6303" y="2448"/>
                    <a:pt x="6303" y="2448"/>
                  </a:cubicBezTo>
                  <a:cubicBezTo>
                    <a:pt x="6303" y="2448"/>
                    <a:pt x="3089" y="2998"/>
                    <a:pt x="2729" y="3527"/>
                  </a:cubicBezTo>
                  <a:cubicBezTo>
                    <a:pt x="2370" y="4076"/>
                    <a:pt x="3871" y="4098"/>
                    <a:pt x="3871" y="4098"/>
                  </a:cubicBezTo>
                  <a:cubicBezTo>
                    <a:pt x="3871" y="4098"/>
                    <a:pt x="572" y="5388"/>
                    <a:pt x="149" y="6043"/>
                  </a:cubicBezTo>
                  <a:cubicBezTo>
                    <a:pt x="1" y="6262"/>
                    <a:pt x="161" y="6335"/>
                    <a:pt x="439" y="6335"/>
                  </a:cubicBezTo>
                  <a:cubicBezTo>
                    <a:pt x="997" y="6335"/>
                    <a:pt x="2031" y="6043"/>
                    <a:pt x="2031" y="6043"/>
                  </a:cubicBezTo>
                  <a:lnTo>
                    <a:pt x="2031" y="6043"/>
                  </a:lnTo>
                  <a:cubicBezTo>
                    <a:pt x="2031" y="6043"/>
                    <a:pt x="255" y="7333"/>
                    <a:pt x="339" y="8116"/>
                  </a:cubicBezTo>
                  <a:cubicBezTo>
                    <a:pt x="369" y="8334"/>
                    <a:pt x="513" y="8412"/>
                    <a:pt x="705" y="8412"/>
                  </a:cubicBezTo>
                  <a:cubicBezTo>
                    <a:pt x="1205" y="8412"/>
                    <a:pt x="2031" y="7883"/>
                    <a:pt x="2031" y="7883"/>
                  </a:cubicBezTo>
                  <a:lnTo>
                    <a:pt x="2031" y="7883"/>
                  </a:lnTo>
                  <a:cubicBezTo>
                    <a:pt x="2031" y="7883"/>
                    <a:pt x="107" y="9977"/>
                    <a:pt x="360" y="10633"/>
                  </a:cubicBezTo>
                  <a:cubicBezTo>
                    <a:pt x="423" y="10781"/>
                    <a:pt x="607" y="10838"/>
                    <a:pt x="855" y="10838"/>
                  </a:cubicBezTo>
                  <a:cubicBezTo>
                    <a:pt x="1705" y="10838"/>
                    <a:pt x="3300" y="10167"/>
                    <a:pt x="3300" y="10167"/>
                  </a:cubicBezTo>
                  <a:lnTo>
                    <a:pt x="3300" y="10167"/>
                  </a:lnTo>
                  <a:cubicBezTo>
                    <a:pt x="3300" y="10168"/>
                    <a:pt x="2179" y="12134"/>
                    <a:pt x="2983" y="12134"/>
                  </a:cubicBezTo>
                  <a:cubicBezTo>
                    <a:pt x="3765" y="12113"/>
                    <a:pt x="5225" y="11246"/>
                    <a:pt x="5225" y="11246"/>
                  </a:cubicBezTo>
                  <a:lnTo>
                    <a:pt x="5225" y="11246"/>
                  </a:lnTo>
                  <a:cubicBezTo>
                    <a:pt x="5225" y="11246"/>
                    <a:pt x="4367" y="13585"/>
                    <a:pt x="5122" y="13585"/>
                  </a:cubicBezTo>
                  <a:cubicBezTo>
                    <a:pt x="5153" y="13585"/>
                    <a:pt x="5187" y="13581"/>
                    <a:pt x="5225" y="13572"/>
                  </a:cubicBezTo>
                  <a:cubicBezTo>
                    <a:pt x="6176" y="13340"/>
                    <a:pt x="7762" y="11965"/>
                    <a:pt x="7763" y="11965"/>
                  </a:cubicBezTo>
                  <a:lnTo>
                    <a:pt x="7763" y="11965"/>
                  </a:lnTo>
                  <a:cubicBezTo>
                    <a:pt x="7763" y="11965"/>
                    <a:pt x="6917" y="14313"/>
                    <a:pt x="7826" y="14313"/>
                  </a:cubicBezTo>
                  <a:cubicBezTo>
                    <a:pt x="8355" y="14313"/>
                    <a:pt x="9835" y="13382"/>
                    <a:pt x="10364" y="12536"/>
                  </a:cubicBezTo>
                  <a:cubicBezTo>
                    <a:pt x="10893" y="13382"/>
                    <a:pt x="12394" y="14313"/>
                    <a:pt x="12923" y="14313"/>
                  </a:cubicBezTo>
                  <a:cubicBezTo>
                    <a:pt x="13832" y="14313"/>
                    <a:pt x="12987" y="11965"/>
                    <a:pt x="12987" y="11965"/>
                  </a:cubicBezTo>
                  <a:lnTo>
                    <a:pt x="12987" y="11965"/>
                  </a:lnTo>
                  <a:cubicBezTo>
                    <a:pt x="12987" y="11965"/>
                    <a:pt x="14573" y="13361"/>
                    <a:pt x="15503" y="13572"/>
                  </a:cubicBezTo>
                  <a:cubicBezTo>
                    <a:pt x="15541" y="13581"/>
                    <a:pt x="15576" y="13585"/>
                    <a:pt x="15609" y="13585"/>
                  </a:cubicBezTo>
                  <a:cubicBezTo>
                    <a:pt x="16380" y="13585"/>
                    <a:pt x="15503" y="11246"/>
                    <a:pt x="15503" y="11246"/>
                  </a:cubicBezTo>
                  <a:lnTo>
                    <a:pt x="15503" y="11246"/>
                  </a:lnTo>
                  <a:cubicBezTo>
                    <a:pt x="15503" y="11246"/>
                    <a:pt x="16984" y="12113"/>
                    <a:pt x="17766" y="12134"/>
                  </a:cubicBezTo>
                  <a:cubicBezTo>
                    <a:pt x="18570" y="12134"/>
                    <a:pt x="17449" y="10168"/>
                    <a:pt x="17449" y="10167"/>
                  </a:cubicBezTo>
                  <a:lnTo>
                    <a:pt x="17449" y="10167"/>
                  </a:lnTo>
                  <a:cubicBezTo>
                    <a:pt x="17449" y="10167"/>
                    <a:pt x="18954" y="10894"/>
                    <a:pt x="19728" y="10894"/>
                  </a:cubicBezTo>
                  <a:cubicBezTo>
                    <a:pt x="19943" y="10894"/>
                    <a:pt x="20101" y="10838"/>
                    <a:pt x="20156" y="10696"/>
                  </a:cubicBezTo>
                  <a:cubicBezTo>
                    <a:pt x="20410" y="10041"/>
                    <a:pt x="18697" y="7905"/>
                    <a:pt x="18697" y="7904"/>
                  </a:cubicBezTo>
                  <a:lnTo>
                    <a:pt x="18697" y="7904"/>
                  </a:lnTo>
                  <a:cubicBezTo>
                    <a:pt x="18697" y="7905"/>
                    <a:pt x="19523" y="8433"/>
                    <a:pt x="20023" y="8433"/>
                  </a:cubicBezTo>
                  <a:cubicBezTo>
                    <a:pt x="20215" y="8433"/>
                    <a:pt x="20359" y="8355"/>
                    <a:pt x="20389" y="8137"/>
                  </a:cubicBezTo>
                  <a:cubicBezTo>
                    <a:pt x="20495" y="7355"/>
                    <a:pt x="18697" y="6043"/>
                    <a:pt x="18697" y="6043"/>
                  </a:cubicBezTo>
                  <a:cubicBezTo>
                    <a:pt x="18697" y="6043"/>
                    <a:pt x="21087" y="6043"/>
                    <a:pt x="20643" y="5388"/>
                  </a:cubicBezTo>
                  <a:cubicBezTo>
                    <a:pt x="20220" y="4732"/>
                    <a:pt x="16836" y="4098"/>
                    <a:pt x="16836" y="4098"/>
                  </a:cubicBezTo>
                  <a:cubicBezTo>
                    <a:pt x="16836" y="4098"/>
                    <a:pt x="18316" y="3421"/>
                    <a:pt x="17978" y="2871"/>
                  </a:cubicBezTo>
                  <a:cubicBezTo>
                    <a:pt x="17721" y="2493"/>
                    <a:pt x="16007" y="2439"/>
                    <a:pt x="15049" y="2439"/>
                  </a:cubicBezTo>
                  <a:cubicBezTo>
                    <a:pt x="14666" y="2439"/>
                    <a:pt x="14404" y="2448"/>
                    <a:pt x="14404" y="2448"/>
                  </a:cubicBezTo>
                  <a:cubicBezTo>
                    <a:pt x="14404" y="2448"/>
                    <a:pt x="15778" y="1390"/>
                    <a:pt x="14848" y="1052"/>
                  </a:cubicBezTo>
                  <a:cubicBezTo>
                    <a:pt x="14734" y="1013"/>
                    <a:pt x="14604" y="996"/>
                    <a:pt x="14463" y="996"/>
                  </a:cubicBezTo>
                  <a:cubicBezTo>
                    <a:pt x="13447" y="996"/>
                    <a:pt x="11866" y="1877"/>
                    <a:pt x="11866" y="1877"/>
                  </a:cubicBezTo>
                  <a:cubicBezTo>
                    <a:pt x="11866" y="1877"/>
                    <a:pt x="12458" y="883"/>
                    <a:pt x="12141" y="523"/>
                  </a:cubicBezTo>
                  <a:cubicBezTo>
                    <a:pt x="12029" y="390"/>
                    <a:pt x="11890" y="333"/>
                    <a:pt x="11737" y="333"/>
                  </a:cubicBezTo>
                  <a:cubicBezTo>
                    <a:pt x="11285" y="333"/>
                    <a:pt x="10712" y="831"/>
                    <a:pt x="10364" y="1306"/>
                  </a:cubicBezTo>
                  <a:cubicBezTo>
                    <a:pt x="9969" y="767"/>
                    <a:pt x="9041" y="0"/>
                    <a:pt x="8381" y="0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" name="Google Shape;220;p3"/>
            <p:cNvSpPr/>
            <p:nvPr/>
          </p:nvSpPr>
          <p:spPr>
            <a:xfrm rot="-325182">
              <a:off x="917084" y="3512909"/>
              <a:ext cx="2003198" cy="1427453"/>
            </a:xfrm>
            <a:custGeom>
              <a:avLst/>
              <a:gdLst/>
              <a:ahLst/>
              <a:cxnLst/>
              <a:rect l="l" t="t" r="r" b="b"/>
              <a:pathLst>
                <a:path w="22292" h="15885" extrusionOk="0">
                  <a:moveTo>
                    <a:pt x="11633" y="2729"/>
                  </a:moveTo>
                  <a:lnTo>
                    <a:pt x="11442" y="3047"/>
                  </a:lnTo>
                  <a:lnTo>
                    <a:pt x="11421" y="3026"/>
                  </a:lnTo>
                  <a:lnTo>
                    <a:pt x="11633" y="2729"/>
                  </a:lnTo>
                  <a:close/>
                  <a:moveTo>
                    <a:pt x="14572" y="2666"/>
                  </a:moveTo>
                  <a:lnTo>
                    <a:pt x="12753" y="4083"/>
                  </a:lnTo>
                  <a:lnTo>
                    <a:pt x="12753" y="4083"/>
                  </a:lnTo>
                  <a:lnTo>
                    <a:pt x="15207" y="3998"/>
                  </a:lnTo>
                  <a:cubicBezTo>
                    <a:pt x="15392" y="3993"/>
                    <a:pt x="15577" y="3990"/>
                    <a:pt x="15762" y="3990"/>
                  </a:cubicBezTo>
                  <a:cubicBezTo>
                    <a:pt x="16317" y="3990"/>
                    <a:pt x="16872" y="4014"/>
                    <a:pt x="17428" y="4062"/>
                  </a:cubicBezTo>
                  <a:cubicBezTo>
                    <a:pt x="17385" y="4104"/>
                    <a:pt x="17322" y="4125"/>
                    <a:pt x="17279" y="4146"/>
                  </a:cubicBezTo>
                  <a:lnTo>
                    <a:pt x="15016" y="5204"/>
                  </a:lnTo>
                  <a:lnTo>
                    <a:pt x="17470" y="5669"/>
                  </a:lnTo>
                  <a:cubicBezTo>
                    <a:pt x="18020" y="5775"/>
                    <a:pt x="18591" y="5902"/>
                    <a:pt x="19098" y="6029"/>
                  </a:cubicBezTo>
                  <a:lnTo>
                    <a:pt x="17005" y="6029"/>
                  </a:lnTo>
                  <a:lnTo>
                    <a:pt x="18485" y="7086"/>
                  </a:lnTo>
                  <a:lnTo>
                    <a:pt x="18485" y="7086"/>
                  </a:lnTo>
                  <a:lnTo>
                    <a:pt x="15862" y="5415"/>
                  </a:lnTo>
                  <a:lnTo>
                    <a:pt x="18823" y="9138"/>
                  </a:lnTo>
                  <a:cubicBezTo>
                    <a:pt x="19225" y="9645"/>
                    <a:pt x="19585" y="10195"/>
                    <a:pt x="19902" y="10745"/>
                  </a:cubicBezTo>
                  <a:cubicBezTo>
                    <a:pt x="19437" y="10618"/>
                    <a:pt x="18971" y="10428"/>
                    <a:pt x="18527" y="10216"/>
                  </a:cubicBezTo>
                  <a:lnTo>
                    <a:pt x="16264" y="9138"/>
                  </a:lnTo>
                  <a:lnTo>
                    <a:pt x="17491" y="11337"/>
                  </a:lnTo>
                  <a:cubicBezTo>
                    <a:pt x="17597" y="11506"/>
                    <a:pt x="17702" y="11697"/>
                    <a:pt x="17787" y="11887"/>
                  </a:cubicBezTo>
                  <a:cubicBezTo>
                    <a:pt x="17385" y="11718"/>
                    <a:pt x="17026" y="11549"/>
                    <a:pt x="16666" y="11337"/>
                  </a:cubicBezTo>
                  <a:lnTo>
                    <a:pt x="14742" y="10195"/>
                  </a:lnTo>
                  <a:lnTo>
                    <a:pt x="15524" y="12289"/>
                  </a:lnTo>
                  <a:cubicBezTo>
                    <a:pt x="15630" y="12606"/>
                    <a:pt x="15736" y="12945"/>
                    <a:pt x="15799" y="13262"/>
                  </a:cubicBezTo>
                  <a:cubicBezTo>
                    <a:pt x="15249" y="12923"/>
                    <a:pt x="14742" y="12543"/>
                    <a:pt x="14255" y="12141"/>
                  </a:cubicBezTo>
                  <a:lnTo>
                    <a:pt x="11992" y="10132"/>
                  </a:lnTo>
                  <a:lnTo>
                    <a:pt x="12986" y="12987"/>
                  </a:lnTo>
                  <a:cubicBezTo>
                    <a:pt x="13113" y="13368"/>
                    <a:pt x="13219" y="13727"/>
                    <a:pt x="13282" y="14129"/>
                  </a:cubicBezTo>
                  <a:cubicBezTo>
                    <a:pt x="12690" y="13812"/>
                    <a:pt x="12182" y="13389"/>
                    <a:pt x="11802" y="12881"/>
                  </a:cubicBezTo>
                  <a:lnTo>
                    <a:pt x="11125" y="11824"/>
                  </a:lnTo>
                  <a:lnTo>
                    <a:pt x="10448" y="12881"/>
                  </a:lnTo>
                  <a:cubicBezTo>
                    <a:pt x="10046" y="13389"/>
                    <a:pt x="9539" y="13812"/>
                    <a:pt x="8968" y="14129"/>
                  </a:cubicBezTo>
                  <a:cubicBezTo>
                    <a:pt x="9031" y="13748"/>
                    <a:pt x="9116" y="13368"/>
                    <a:pt x="9243" y="12987"/>
                  </a:cubicBezTo>
                  <a:lnTo>
                    <a:pt x="10258" y="10132"/>
                  </a:lnTo>
                  <a:lnTo>
                    <a:pt x="10258" y="10132"/>
                  </a:lnTo>
                  <a:lnTo>
                    <a:pt x="7974" y="12141"/>
                  </a:lnTo>
                  <a:cubicBezTo>
                    <a:pt x="7487" y="12564"/>
                    <a:pt x="6980" y="12945"/>
                    <a:pt x="6430" y="13283"/>
                  </a:cubicBezTo>
                  <a:cubicBezTo>
                    <a:pt x="6514" y="12945"/>
                    <a:pt x="6599" y="12606"/>
                    <a:pt x="6726" y="12289"/>
                  </a:cubicBezTo>
                  <a:lnTo>
                    <a:pt x="7487" y="10195"/>
                  </a:lnTo>
                  <a:lnTo>
                    <a:pt x="5584" y="11337"/>
                  </a:lnTo>
                  <a:cubicBezTo>
                    <a:pt x="5224" y="11549"/>
                    <a:pt x="4844" y="11739"/>
                    <a:pt x="4463" y="11887"/>
                  </a:cubicBezTo>
                  <a:cubicBezTo>
                    <a:pt x="4548" y="11718"/>
                    <a:pt x="4632" y="11506"/>
                    <a:pt x="4738" y="11337"/>
                  </a:cubicBezTo>
                  <a:lnTo>
                    <a:pt x="5901" y="9307"/>
                  </a:lnTo>
                  <a:lnTo>
                    <a:pt x="3744" y="10216"/>
                  </a:lnTo>
                  <a:cubicBezTo>
                    <a:pt x="3236" y="10428"/>
                    <a:pt x="2708" y="10597"/>
                    <a:pt x="2158" y="10745"/>
                  </a:cubicBezTo>
                  <a:cubicBezTo>
                    <a:pt x="2517" y="10195"/>
                    <a:pt x="2940" y="9688"/>
                    <a:pt x="3384" y="9201"/>
                  </a:cubicBezTo>
                  <a:lnTo>
                    <a:pt x="7530" y="4696"/>
                  </a:lnTo>
                  <a:lnTo>
                    <a:pt x="7530" y="4696"/>
                  </a:lnTo>
                  <a:lnTo>
                    <a:pt x="3723" y="7129"/>
                  </a:lnTo>
                  <a:lnTo>
                    <a:pt x="3723" y="7129"/>
                  </a:lnTo>
                  <a:lnTo>
                    <a:pt x="6874" y="4844"/>
                  </a:lnTo>
                  <a:lnTo>
                    <a:pt x="8651" y="4146"/>
                  </a:lnTo>
                  <a:lnTo>
                    <a:pt x="6557" y="4104"/>
                  </a:lnTo>
                  <a:cubicBezTo>
                    <a:pt x="6768" y="4062"/>
                    <a:pt x="6980" y="4041"/>
                    <a:pt x="7212" y="3998"/>
                  </a:cubicBezTo>
                  <a:lnTo>
                    <a:pt x="9137" y="3660"/>
                  </a:lnTo>
                  <a:lnTo>
                    <a:pt x="8016" y="2899"/>
                  </a:lnTo>
                  <a:lnTo>
                    <a:pt x="8016" y="2899"/>
                  </a:lnTo>
                  <a:cubicBezTo>
                    <a:pt x="8460" y="3026"/>
                    <a:pt x="8883" y="3174"/>
                    <a:pt x="9285" y="3364"/>
                  </a:cubicBezTo>
                  <a:lnTo>
                    <a:pt x="10808" y="4083"/>
                  </a:lnTo>
                  <a:lnTo>
                    <a:pt x="10385" y="4781"/>
                  </a:lnTo>
                  <a:lnTo>
                    <a:pt x="10385" y="4781"/>
                  </a:lnTo>
                  <a:lnTo>
                    <a:pt x="11273" y="4295"/>
                  </a:lnTo>
                  <a:lnTo>
                    <a:pt x="15588" y="6325"/>
                  </a:lnTo>
                  <a:lnTo>
                    <a:pt x="12288" y="3723"/>
                  </a:lnTo>
                  <a:lnTo>
                    <a:pt x="12986" y="3343"/>
                  </a:lnTo>
                  <a:cubicBezTo>
                    <a:pt x="13494" y="3047"/>
                    <a:pt x="14022" y="2835"/>
                    <a:pt x="14572" y="2666"/>
                  </a:cubicBezTo>
                  <a:close/>
                  <a:moveTo>
                    <a:pt x="9171" y="0"/>
                  </a:moveTo>
                  <a:cubicBezTo>
                    <a:pt x="8920" y="0"/>
                    <a:pt x="8673" y="58"/>
                    <a:pt x="8439" y="192"/>
                  </a:cubicBezTo>
                  <a:cubicBezTo>
                    <a:pt x="8079" y="382"/>
                    <a:pt x="7826" y="741"/>
                    <a:pt x="7805" y="1164"/>
                  </a:cubicBezTo>
                  <a:lnTo>
                    <a:pt x="7805" y="1249"/>
                  </a:lnTo>
                  <a:cubicBezTo>
                    <a:pt x="7645" y="1226"/>
                    <a:pt x="7488" y="1214"/>
                    <a:pt x="7334" y="1214"/>
                  </a:cubicBezTo>
                  <a:cubicBezTo>
                    <a:pt x="7057" y="1214"/>
                    <a:pt x="6786" y="1252"/>
                    <a:pt x="6514" y="1334"/>
                  </a:cubicBezTo>
                  <a:cubicBezTo>
                    <a:pt x="6049" y="1439"/>
                    <a:pt x="5711" y="1820"/>
                    <a:pt x="5647" y="2285"/>
                  </a:cubicBezTo>
                  <a:cubicBezTo>
                    <a:pt x="5626" y="2433"/>
                    <a:pt x="5626" y="2560"/>
                    <a:pt x="5668" y="2708"/>
                  </a:cubicBezTo>
                  <a:cubicBezTo>
                    <a:pt x="3279" y="3216"/>
                    <a:pt x="2961" y="3723"/>
                    <a:pt x="2856" y="3893"/>
                  </a:cubicBezTo>
                  <a:cubicBezTo>
                    <a:pt x="2644" y="4168"/>
                    <a:pt x="2602" y="4527"/>
                    <a:pt x="2729" y="4844"/>
                  </a:cubicBezTo>
                  <a:cubicBezTo>
                    <a:pt x="1650" y="5331"/>
                    <a:pt x="593" y="5902"/>
                    <a:pt x="254" y="6388"/>
                  </a:cubicBezTo>
                  <a:cubicBezTo>
                    <a:pt x="0" y="6727"/>
                    <a:pt x="0" y="7171"/>
                    <a:pt x="233" y="7509"/>
                  </a:cubicBezTo>
                  <a:cubicBezTo>
                    <a:pt x="339" y="7657"/>
                    <a:pt x="487" y="7784"/>
                    <a:pt x="677" y="7848"/>
                  </a:cubicBezTo>
                  <a:cubicBezTo>
                    <a:pt x="423" y="8186"/>
                    <a:pt x="318" y="8588"/>
                    <a:pt x="339" y="9011"/>
                  </a:cubicBezTo>
                  <a:cubicBezTo>
                    <a:pt x="381" y="9349"/>
                    <a:pt x="571" y="9666"/>
                    <a:pt x="868" y="9836"/>
                  </a:cubicBezTo>
                  <a:cubicBezTo>
                    <a:pt x="106" y="10999"/>
                    <a:pt x="296" y="11485"/>
                    <a:pt x="381" y="11697"/>
                  </a:cubicBezTo>
                  <a:cubicBezTo>
                    <a:pt x="487" y="11972"/>
                    <a:pt x="698" y="12183"/>
                    <a:pt x="952" y="12289"/>
                  </a:cubicBezTo>
                  <a:cubicBezTo>
                    <a:pt x="1142" y="12371"/>
                    <a:pt x="1368" y="12405"/>
                    <a:pt x="1615" y="12405"/>
                  </a:cubicBezTo>
                  <a:cubicBezTo>
                    <a:pt x="1944" y="12405"/>
                    <a:pt x="2312" y="12343"/>
                    <a:pt x="2686" y="12247"/>
                  </a:cubicBezTo>
                  <a:lnTo>
                    <a:pt x="2686" y="12247"/>
                  </a:lnTo>
                  <a:cubicBezTo>
                    <a:pt x="2623" y="12564"/>
                    <a:pt x="2665" y="12902"/>
                    <a:pt x="2813" y="13198"/>
                  </a:cubicBezTo>
                  <a:cubicBezTo>
                    <a:pt x="3004" y="13516"/>
                    <a:pt x="3363" y="13706"/>
                    <a:pt x="3723" y="13706"/>
                  </a:cubicBezTo>
                  <a:cubicBezTo>
                    <a:pt x="4082" y="13685"/>
                    <a:pt x="4442" y="13600"/>
                    <a:pt x="4780" y="13473"/>
                  </a:cubicBezTo>
                  <a:lnTo>
                    <a:pt x="4780" y="13473"/>
                  </a:lnTo>
                  <a:cubicBezTo>
                    <a:pt x="4717" y="14065"/>
                    <a:pt x="4801" y="14510"/>
                    <a:pt x="5076" y="14785"/>
                  </a:cubicBezTo>
                  <a:cubicBezTo>
                    <a:pt x="5287" y="15011"/>
                    <a:pt x="5571" y="15139"/>
                    <a:pt x="5873" y="15139"/>
                  </a:cubicBezTo>
                  <a:cubicBezTo>
                    <a:pt x="5966" y="15139"/>
                    <a:pt x="6061" y="15127"/>
                    <a:pt x="6155" y="15102"/>
                  </a:cubicBezTo>
                  <a:cubicBezTo>
                    <a:pt x="6578" y="14996"/>
                    <a:pt x="6980" y="14806"/>
                    <a:pt x="7360" y="14552"/>
                  </a:cubicBezTo>
                  <a:cubicBezTo>
                    <a:pt x="7360" y="14869"/>
                    <a:pt x="7445" y="15144"/>
                    <a:pt x="7614" y="15398"/>
                  </a:cubicBezTo>
                  <a:cubicBezTo>
                    <a:pt x="7847" y="15715"/>
                    <a:pt x="8185" y="15884"/>
                    <a:pt x="8566" y="15884"/>
                  </a:cubicBezTo>
                  <a:cubicBezTo>
                    <a:pt x="9222" y="15884"/>
                    <a:pt x="10321" y="15250"/>
                    <a:pt x="11125" y="14510"/>
                  </a:cubicBezTo>
                  <a:cubicBezTo>
                    <a:pt x="11908" y="15250"/>
                    <a:pt x="13007" y="15884"/>
                    <a:pt x="13684" y="15884"/>
                  </a:cubicBezTo>
                  <a:cubicBezTo>
                    <a:pt x="14044" y="15884"/>
                    <a:pt x="14382" y="15694"/>
                    <a:pt x="14615" y="15398"/>
                  </a:cubicBezTo>
                  <a:cubicBezTo>
                    <a:pt x="14763" y="15144"/>
                    <a:pt x="14868" y="14869"/>
                    <a:pt x="14868" y="14552"/>
                  </a:cubicBezTo>
                  <a:cubicBezTo>
                    <a:pt x="15249" y="14806"/>
                    <a:pt x="15651" y="14996"/>
                    <a:pt x="16074" y="15123"/>
                  </a:cubicBezTo>
                  <a:cubicBezTo>
                    <a:pt x="16168" y="15148"/>
                    <a:pt x="16264" y="15160"/>
                    <a:pt x="16358" y="15160"/>
                  </a:cubicBezTo>
                  <a:cubicBezTo>
                    <a:pt x="16665" y="15160"/>
                    <a:pt x="16958" y="15032"/>
                    <a:pt x="17153" y="14806"/>
                  </a:cubicBezTo>
                  <a:cubicBezTo>
                    <a:pt x="17406" y="14510"/>
                    <a:pt x="17512" y="14087"/>
                    <a:pt x="17449" y="13473"/>
                  </a:cubicBezTo>
                  <a:lnTo>
                    <a:pt x="17449" y="13473"/>
                  </a:lnTo>
                  <a:cubicBezTo>
                    <a:pt x="17787" y="13621"/>
                    <a:pt x="18147" y="13685"/>
                    <a:pt x="18506" y="13706"/>
                  </a:cubicBezTo>
                  <a:cubicBezTo>
                    <a:pt x="18525" y="13707"/>
                    <a:pt x="18544" y="13708"/>
                    <a:pt x="18563" y="13708"/>
                  </a:cubicBezTo>
                  <a:cubicBezTo>
                    <a:pt x="18923" y="13708"/>
                    <a:pt x="19256" y="13520"/>
                    <a:pt x="19437" y="13198"/>
                  </a:cubicBezTo>
                  <a:cubicBezTo>
                    <a:pt x="19585" y="12945"/>
                    <a:pt x="19627" y="12627"/>
                    <a:pt x="19564" y="12331"/>
                  </a:cubicBezTo>
                  <a:lnTo>
                    <a:pt x="19564" y="12331"/>
                  </a:lnTo>
                  <a:cubicBezTo>
                    <a:pt x="19824" y="12422"/>
                    <a:pt x="20091" y="12464"/>
                    <a:pt x="20354" y="12464"/>
                  </a:cubicBezTo>
                  <a:cubicBezTo>
                    <a:pt x="20582" y="12464"/>
                    <a:pt x="20807" y="12432"/>
                    <a:pt x="21023" y="12374"/>
                  </a:cubicBezTo>
                  <a:cubicBezTo>
                    <a:pt x="21319" y="12268"/>
                    <a:pt x="21531" y="12035"/>
                    <a:pt x="21636" y="11760"/>
                  </a:cubicBezTo>
                  <a:cubicBezTo>
                    <a:pt x="21805" y="11316"/>
                    <a:pt x="21679" y="10703"/>
                    <a:pt x="21234" y="9899"/>
                  </a:cubicBezTo>
                  <a:lnTo>
                    <a:pt x="21298" y="9878"/>
                  </a:lnTo>
                  <a:cubicBezTo>
                    <a:pt x="21636" y="9709"/>
                    <a:pt x="21869" y="9370"/>
                    <a:pt x="21911" y="8990"/>
                  </a:cubicBezTo>
                  <a:cubicBezTo>
                    <a:pt x="21975" y="8461"/>
                    <a:pt x="21679" y="7911"/>
                    <a:pt x="21256" y="7403"/>
                  </a:cubicBezTo>
                  <a:cubicBezTo>
                    <a:pt x="21890" y="7213"/>
                    <a:pt x="22059" y="6938"/>
                    <a:pt x="22123" y="6790"/>
                  </a:cubicBezTo>
                  <a:cubicBezTo>
                    <a:pt x="22292" y="6452"/>
                    <a:pt x="22271" y="6029"/>
                    <a:pt x="22059" y="5733"/>
                  </a:cubicBezTo>
                  <a:cubicBezTo>
                    <a:pt x="21700" y="5204"/>
                    <a:pt x="20600" y="4781"/>
                    <a:pt x="19394" y="4464"/>
                  </a:cubicBezTo>
                  <a:cubicBezTo>
                    <a:pt x="19437" y="4379"/>
                    <a:pt x="19500" y="4273"/>
                    <a:pt x="19521" y="4168"/>
                  </a:cubicBezTo>
                  <a:cubicBezTo>
                    <a:pt x="19627" y="3850"/>
                    <a:pt x="19564" y="3512"/>
                    <a:pt x="19394" y="3237"/>
                  </a:cubicBezTo>
                  <a:cubicBezTo>
                    <a:pt x="19246" y="3026"/>
                    <a:pt x="18929" y="2539"/>
                    <a:pt x="16708" y="2433"/>
                  </a:cubicBezTo>
                  <a:cubicBezTo>
                    <a:pt x="16814" y="1841"/>
                    <a:pt x="16455" y="1249"/>
                    <a:pt x="15862" y="1101"/>
                  </a:cubicBezTo>
                  <a:cubicBezTo>
                    <a:pt x="15665" y="1030"/>
                    <a:pt x="15444" y="1000"/>
                    <a:pt x="15211" y="1000"/>
                  </a:cubicBezTo>
                  <a:cubicBezTo>
                    <a:pt x="14744" y="1000"/>
                    <a:pt x="14227" y="1122"/>
                    <a:pt x="13748" y="1291"/>
                  </a:cubicBezTo>
                  <a:cubicBezTo>
                    <a:pt x="13705" y="1101"/>
                    <a:pt x="13621" y="932"/>
                    <a:pt x="13515" y="805"/>
                  </a:cubicBezTo>
                  <a:cubicBezTo>
                    <a:pt x="13261" y="488"/>
                    <a:pt x="12859" y="318"/>
                    <a:pt x="12457" y="318"/>
                  </a:cubicBezTo>
                  <a:cubicBezTo>
                    <a:pt x="11950" y="382"/>
                    <a:pt x="11485" y="593"/>
                    <a:pt x="11125" y="932"/>
                  </a:cubicBezTo>
                  <a:cubicBezTo>
                    <a:pt x="10595" y="449"/>
                    <a:pt x="9871" y="0"/>
                    <a:pt x="917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" name="Google Shape;221;p3"/>
            <p:cNvSpPr/>
            <p:nvPr/>
          </p:nvSpPr>
          <p:spPr>
            <a:xfrm rot="-325182">
              <a:off x="985255" y="3580587"/>
              <a:ext cx="1894914" cy="1286191"/>
            </a:xfrm>
            <a:custGeom>
              <a:avLst/>
              <a:gdLst/>
              <a:ahLst/>
              <a:cxnLst/>
              <a:rect l="l" t="t" r="r" b="b"/>
              <a:pathLst>
                <a:path w="21087" h="14313" extrusionOk="0">
                  <a:moveTo>
                    <a:pt x="8381" y="0"/>
                  </a:moveTo>
                  <a:cubicBezTo>
                    <a:pt x="8264" y="0"/>
                    <a:pt x="8155" y="25"/>
                    <a:pt x="8059" y="79"/>
                  </a:cubicBezTo>
                  <a:cubicBezTo>
                    <a:pt x="7192" y="566"/>
                    <a:pt x="8862" y="1856"/>
                    <a:pt x="8862" y="1856"/>
                  </a:cubicBezTo>
                  <a:cubicBezTo>
                    <a:pt x="8862" y="1856"/>
                    <a:pt x="7477" y="1216"/>
                    <a:pt x="6476" y="1216"/>
                  </a:cubicBezTo>
                  <a:cubicBezTo>
                    <a:pt x="6297" y="1216"/>
                    <a:pt x="6130" y="1237"/>
                    <a:pt x="5986" y="1285"/>
                  </a:cubicBezTo>
                  <a:cubicBezTo>
                    <a:pt x="5055" y="1602"/>
                    <a:pt x="6303" y="2448"/>
                    <a:pt x="6303" y="2448"/>
                  </a:cubicBezTo>
                  <a:cubicBezTo>
                    <a:pt x="6303" y="2448"/>
                    <a:pt x="3089" y="2998"/>
                    <a:pt x="2729" y="3527"/>
                  </a:cubicBezTo>
                  <a:cubicBezTo>
                    <a:pt x="2370" y="4076"/>
                    <a:pt x="3871" y="4098"/>
                    <a:pt x="3871" y="4098"/>
                  </a:cubicBezTo>
                  <a:cubicBezTo>
                    <a:pt x="3871" y="4098"/>
                    <a:pt x="572" y="5388"/>
                    <a:pt x="149" y="6043"/>
                  </a:cubicBezTo>
                  <a:cubicBezTo>
                    <a:pt x="1" y="6262"/>
                    <a:pt x="161" y="6335"/>
                    <a:pt x="439" y="6335"/>
                  </a:cubicBezTo>
                  <a:cubicBezTo>
                    <a:pt x="997" y="6335"/>
                    <a:pt x="2031" y="6043"/>
                    <a:pt x="2031" y="6043"/>
                  </a:cubicBezTo>
                  <a:lnTo>
                    <a:pt x="2031" y="6043"/>
                  </a:lnTo>
                  <a:cubicBezTo>
                    <a:pt x="2031" y="6043"/>
                    <a:pt x="255" y="7333"/>
                    <a:pt x="339" y="8116"/>
                  </a:cubicBezTo>
                  <a:cubicBezTo>
                    <a:pt x="369" y="8334"/>
                    <a:pt x="513" y="8412"/>
                    <a:pt x="705" y="8412"/>
                  </a:cubicBezTo>
                  <a:cubicBezTo>
                    <a:pt x="1205" y="8412"/>
                    <a:pt x="2031" y="7883"/>
                    <a:pt x="2031" y="7883"/>
                  </a:cubicBezTo>
                  <a:lnTo>
                    <a:pt x="2031" y="7883"/>
                  </a:lnTo>
                  <a:cubicBezTo>
                    <a:pt x="2031" y="7883"/>
                    <a:pt x="107" y="9977"/>
                    <a:pt x="360" y="10633"/>
                  </a:cubicBezTo>
                  <a:cubicBezTo>
                    <a:pt x="423" y="10781"/>
                    <a:pt x="607" y="10838"/>
                    <a:pt x="855" y="10838"/>
                  </a:cubicBezTo>
                  <a:cubicBezTo>
                    <a:pt x="1705" y="10838"/>
                    <a:pt x="3300" y="10167"/>
                    <a:pt x="3300" y="10167"/>
                  </a:cubicBezTo>
                  <a:lnTo>
                    <a:pt x="3300" y="10167"/>
                  </a:lnTo>
                  <a:cubicBezTo>
                    <a:pt x="3300" y="10168"/>
                    <a:pt x="2179" y="12134"/>
                    <a:pt x="2983" y="12134"/>
                  </a:cubicBezTo>
                  <a:cubicBezTo>
                    <a:pt x="3765" y="12113"/>
                    <a:pt x="5225" y="11246"/>
                    <a:pt x="5225" y="11246"/>
                  </a:cubicBezTo>
                  <a:lnTo>
                    <a:pt x="5225" y="11246"/>
                  </a:lnTo>
                  <a:cubicBezTo>
                    <a:pt x="5225" y="11246"/>
                    <a:pt x="4367" y="13585"/>
                    <a:pt x="5122" y="13585"/>
                  </a:cubicBezTo>
                  <a:cubicBezTo>
                    <a:pt x="5153" y="13585"/>
                    <a:pt x="5187" y="13581"/>
                    <a:pt x="5225" y="13572"/>
                  </a:cubicBezTo>
                  <a:cubicBezTo>
                    <a:pt x="6176" y="13340"/>
                    <a:pt x="7762" y="11965"/>
                    <a:pt x="7763" y="11965"/>
                  </a:cubicBezTo>
                  <a:lnTo>
                    <a:pt x="7763" y="11965"/>
                  </a:lnTo>
                  <a:cubicBezTo>
                    <a:pt x="7763" y="11965"/>
                    <a:pt x="6917" y="14313"/>
                    <a:pt x="7826" y="14313"/>
                  </a:cubicBezTo>
                  <a:cubicBezTo>
                    <a:pt x="8355" y="14313"/>
                    <a:pt x="9835" y="13382"/>
                    <a:pt x="10364" y="12536"/>
                  </a:cubicBezTo>
                  <a:cubicBezTo>
                    <a:pt x="10914" y="13382"/>
                    <a:pt x="12394" y="14313"/>
                    <a:pt x="12923" y="14313"/>
                  </a:cubicBezTo>
                  <a:cubicBezTo>
                    <a:pt x="13832" y="14313"/>
                    <a:pt x="12987" y="11965"/>
                    <a:pt x="12987" y="11965"/>
                  </a:cubicBezTo>
                  <a:lnTo>
                    <a:pt x="12987" y="11965"/>
                  </a:lnTo>
                  <a:cubicBezTo>
                    <a:pt x="12987" y="11965"/>
                    <a:pt x="14573" y="13361"/>
                    <a:pt x="15503" y="13572"/>
                  </a:cubicBezTo>
                  <a:cubicBezTo>
                    <a:pt x="15541" y="13581"/>
                    <a:pt x="15576" y="13585"/>
                    <a:pt x="15609" y="13585"/>
                  </a:cubicBezTo>
                  <a:cubicBezTo>
                    <a:pt x="16380" y="13585"/>
                    <a:pt x="15503" y="11246"/>
                    <a:pt x="15503" y="11246"/>
                  </a:cubicBezTo>
                  <a:lnTo>
                    <a:pt x="15503" y="11246"/>
                  </a:lnTo>
                  <a:cubicBezTo>
                    <a:pt x="15503" y="11246"/>
                    <a:pt x="16984" y="12113"/>
                    <a:pt x="17766" y="12134"/>
                  </a:cubicBezTo>
                  <a:cubicBezTo>
                    <a:pt x="18570" y="12134"/>
                    <a:pt x="17449" y="10168"/>
                    <a:pt x="17449" y="10167"/>
                  </a:cubicBezTo>
                  <a:lnTo>
                    <a:pt x="17449" y="10167"/>
                  </a:lnTo>
                  <a:cubicBezTo>
                    <a:pt x="17449" y="10167"/>
                    <a:pt x="18954" y="10894"/>
                    <a:pt x="19728" y="10894"/>
                  </a:cubicBezTo>
                  <a:cubicBezTo>
                    <a:pt x="19943" y="10894"/>
                    <a:pt x="20101" y="10838"/>
                    <a:pt x="20156" y="10696"/>
                  </a:cubicBezTo>
                  <a:cubicBezTo>
                    <a:pt x="20410" y="10041"/>
                    <a:pt x="18697" y="7905"/>
                    <a:pt x="18697" y="7904"/>
                  </a:cubicBezTo>
                  <a:lnTo>
                    <a:pt x="18697" y="7904"/>
                  </a:lnTo>
                  <a:cubicBezTo>
                    <a:pt x="18697" y="7905"/>
                    <a:pt x="19523" y="8433"/>
                    <a:pt x="20023" y="8433"/>
                  </a:cubicBezTo>
                  <a:cubicBezTo>
                    <a:pt x="20215" y="8433"/>
                    <a:pt x="20359" y="8355"/>
                    <a:pt x="20389" y="8137"/>
                  </a:cubicBezTo>
                  <a:cubicBezTo>
                    <a:pt x="20495" y="7355"/>
                    <a:pt x="18697" y="6043"/>
                    <a:pt x="18697" y="6043"/>
                  </a:cubicBezTo>
                  <a:cubicBezTo>
                    <a:pt x="18697" y="6043"/>
                    <a:pt x="21087" y="6043"/>
                    <a:pt x="20643" y="5388"/>
                  </a:cubicBezTo>
                  <a:cubicBezTo>
                    <a:pt x="20198" y="4732"/>
                    <a:pt x="16836" y="4098"/>
                    <a:pt x="16836" y="4098"/>
                  </a:cubicBezTo>
                  <a:cubicBezTo>
                    <a:pt x="16836" y="4098"/>
                    <a:pt x="18316" y="3421"/>
                    <a:pt x="17978" y="2871"/>
                  </a:cubicBezTo>
                  <a:cubicBezTo>
                    <a:pt x="17721" y="2493"/>
                    <a:pt x="16007" y="2439"/>
                    <a:pt x="15049" y="2439"/>
                  </a:cubicBezTo>
                  <a:cubicBezTo>
                    <a:pt x="14666" y="2439"/>
                    <a:pt x="14404" y="2448"/>
                    <a:pt x="14404" y="2448"/>
                  </a:cubicBezTo>
                  <a:cubicBezTo>
                    <a:pt x="14404" y="2448"/>
                    <a:pt x="15778" y="1390"/>
                    <a:pt x="14848" y="1052"/>
                  </a:cubicBezTo>
                  <a:cubicBezTo>
                    <a:pt x="14734" y="1013"/>
                    <a:pt x="14604" y="996"/>
                    <a:pt x="14462" y="996"/>
                  </a:cubicBezTo>
                  <a:cubicBezTo>
                    <a:pt x="13442" y="996"/>
                    <a:pt x="11844" y="1877"/>
                    <a:pt x="11844" y="1877"/>
                  </a:cubicBezTo>
                  <a:cubicBezTo>
                    <a:pt x="11844" y="1877"/>
                    <a:pt x="12458" y="883"/>
                    <a:pt x="12141" y="523"/>
                  </a:cubicBezTo>
                  <a:cubicBezTo>
                    <a:pt x="12029" y="390"/>
                    <a:pt x="11890" y="333"/>
                    <a:pt x="11737" y="333"/>
                  </a:cubicBezTo>
                  <a:cubicBezTo>
                    <a:pt x="11285" y="333"/>
                    <a:pt x="10712" y="831"/>
                    <a:pt x="10364" y="1306"/>
                  </a:cubicBezTo>
                  <a:cubicBezTo>
                    <a:pt x="9969" y="767"/>
                    <a:pt x="9041" y="0"/>
                    <a:pt x="8381" y="0"/>
                  </a:cubicBezTo>
                  <a:close/>
                </a:path>
              </a:pathLst>
            </a:custGeom>
            <a:solidFill>
              <a:srgbClr val="EEC05A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" name="Google Shape;222;p3"/>
            <p:cNvSpPr/>
            <p:nvPr/>
          </p:nvSpPr>
          <p:spPr>
            <a:xfrm rot="-325182">
              <a:off x="1903309" y="3854841"/>
              <a:ext cx="446703" cy="479412"/>
            </a:xfrm>
            <a:custGeom>
              <a:avLst/>
              <a:gdLst/>
              <a:ahLst/>
              <a:cxnLst/>
              <a:rect l="l" t="t" r="r" b="b"/>
              <a:pathLst>
                <a:path w="4971" h="5335" extrusionOk="0">
                  <a:moveTo>
                    <a:pt x="2832" y="0"/>
                  </a:moveTo>
                  <a:cubicBezTo>
                    <a:pt x="1144" y="0"/>
                    <a:pt x="1" y="3310"/>
                    <a:pt x="1" y="3310"/>
                  </a:cubicBezTo>
                  <a:cubicBezTo>
                    <a:pt x="1" y="3310"/>
                    <a:pt x="96" y="5335"/>
                    <a:pt x="2776" y="5335"/>
                  </a:cubicBezTo>
                  <a:cubicBezTo>
                    <a:pt x="3194" y="5335"/>
                    <a:pt x="3676" y="5285"/>
                    <a:pt x="4231" y="5171"/>
                  </a:cubicBezTo>
                  <a:cubicBezTo>
                    <a:pt x="4675" y="5065"/>
                    <a:pt x="4971" y="4685"/>
                    <a:pt x="4971" y="4262"/>
                  </a:cubicBezTo>
                  <a:cubicBezTo>
                    <a:pt x="4971" y="2908"/>
                    <a:pt x="4823" y="793"/>
                    <a:pt x="3427" y="138"/>
                  </a:cubicBezTo>
                  <a:cubicBezTo>
                    <a:pt x="3222" y="43"/>
                    <a:pt x="3024" y="0"/>
                    <a:pt x="2832" y="0"/>
                  </a:cubicBezTo>
                  <a:close/>
                </a:path>
              </a:pathLst>
            </a:custGeom>
            <a:solidFill>
              <a:srgbClr val="D9D8B3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" name="Google Shape;223;p3"/>
            <p:cNvSpPr/>
            <p:nvPr/>
          </p:nvSpPr>
          <p:spPr>
            <a:xfrm rot="-325182">
              <a:off x="1652809" y="3946322"/>
              <a:ext cx="545461" cy="603781"/>
            </a:xfrm>
            <a:custGeom>
              <a:avLst/>
              <a:gdLst/>
              <a:ahLst/>
              <a:cxnLst/>
              <a:rect l="l" t="t" r="r" b="b"/>
              <a:pathLst>
                <a:path w="6070" h="6719" extrusionOk="0">
                  <a:moveTo>
                    <a:pt x="2589" y="0"/>
                  </a:moveTo>
                  <a:cubicBezTo>
                    <a:pt x="219" y="0"/>
                    <a:pt x="0" y="5197"/>
                    <a:pt x="0" y="5197"/>
                  </a:cubicBezTo>
                  <a:cubicBezTo>
                    <a:pt x="0" y="5197"/>
                    <a:pt x="568" y="6718"/>
                    <a:pt x="2444" y="6718"/>
                  </a:cubicBezTo>
                  <a:cubicBezTo>
                    <a:pt x="3203" y="6718"/>
                    <a:pt x="4177" y="6469"/>
                    <a:pt x="5414" y="5768"/>
                  </a:cubicBezTo>
                  <a:cubicBezTo>
                    <a:pt x="5858" y="5514"/>
                    <a:pt x="6070" y="4985"/>
                    <a:pt x="5922" y="4499"/>
                  </a:cubicBezTo>
                  <a:cubicBezTo>
                    <a:pt x="5435" y="2976"/>
                    <a:pt x="4611" y="269"/>
                    <a:pt x="2813" y="15"/>
                  </a:cubicBezTo>
                  <a:cubicBezTo>
                    <a:pt x="2736" y="5"/>
                    <a:pt x="2662" y="0"/>
                    <a:pt x="258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" name="Google Shape;224;p3"/>
            <p:cNvSpPr/>
            <p:nvPr/>
          </p:nvSpPr>
          <p:spPr>
            <a:xfrm rot="-325182">
              <a:off x="1653395" y="3958528"/>
              <a:ext cx="275606" cy="604500"/>
            </a:xfrm>
            <a:custGeom>
              <a:avLst/>
              <a:gdLst/>
              <a:ahLst/>
              <a:cxnLst/>
              <a:rect l="l" t="t" r="r" b="b"/>
              <a:pathLst>
                <a:path w="3067" h="6727" extrusionOk="0">
                  <a:moveTo>
                    <a:pt x="2559" y="0"/>
                  </a:moveTo>
                  <a:cubicBezTo>
                    <a:pt x="338" y="43"/>
                    <a:pt x="21" y="4653"/>
                    <a:pt x="0" y="5161"/>
                  </a:cubicBezTo>
                  <a:cubicBezTo>
                    <a:pt x="0" y="5203"/>
                    <a:pt x="0" y="5224"/>
                    <a:pt x="21" y="5245"/>
                  </a:cubicBezTo>
                  <a:cubicBezTo>
                    <a:pt x="120" y="5501"/>
                    <a:pt x="767" y="6726"/>
                    <a:pt x="2456" y="6726"/>
                  </a:cubicBezTo>
                  <a:cubicBezTo>
                    <a:pt x="2583" y="6726"/>
                    <a:pt x="2716" y="6719"/>
                    <a:pt x="2855" y="6705"/>
                  </a:cubicBezTo>
                  <a:cubicBezTo>
                    <a:pt x="2982" y="6683"/>
                    <a:pt x="3067" y="6557"/>
                    <a:pt x="3003" y="6430"/>
                  </a:cubicBezTo>
                  <a:cubicBezTo>
                    <a:pt x="1988" y="4526"/>
                    <a:pt x="1671" y="2073"/>
                    <a:pt x="2728" y="296"/>
                  </a:cubicBezTo>
                  <a:cubicBezTo>
                    <a:pt x="2623" y="148"/>
                    <a:pt x="2644" y="169"/>
                    <a:pt x="2559" y="0"/>
                  </a:cubicBezTo>
                  <a:close/>
                </a:path>
              </a:pathLst>
            </a:custGeom>
            <a:solidFill>
              <a:srgbClr val="EDECC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" name="Google Shape;225;p3"/>
            <p:cNvSpPr/>
            <p:nvPr/>
          </p:nvSpPr>
          <p:spPr>
            <a:xfrm rot="-325182">
              <a:off x="1369583" y="4220987"/>
              <a:ext cx="1215470" cy="371848"/>
            </a:xfrm>
            <a:custGeom>
              <a:avLst/>
              <a:gdLst/>
              <a:ahLst/>
              <a:cxnLst/>
              <a:rect l="l" t="t" r="r" b="b"/>
              <a:pathLst>
                <a:path w="13526" h="4138" extrusionOk="0">
                  <a:moveTo>
                    <a:pt x="233" y="0"/>
                  </a:moveTo>
                  <a:cubicBezTo>
                    <a:pt x="149" y="0"/>
                    <a:pt x="106" y="127"/>
                    <a:pt x="191" y="148"/>
                  </a:cubicBezTo>
                  <a:cubicBezTo>
                    <a:pt x="783" y="381"/>
                    <a:pt x="1333" y="740"/>
                    <a:pt x="1777" y="1206"/>
                  </a:cubicBezTo>
                  <a:cubicBezTo>
                    <a:pt x="1819" y="1227"/>
                    <a:pt x="1798" y="1290"/>
                    <a:pt x="1756" y="1311"/>
                  </a:cubicBezTo>
                  <a:cubicBezTo>
                    <a:pt x="1122" y="1438"/>
                    <a:pt x="550" y="1713"/>
                    <a:pt x="64" y="2136"/>
                  </a:cubicBezTo>
                  <a:cubicBezTo>
                    <a:pt x="1" y="2179"/>
                    <a:pt x="43" y="2263"/>
                    <a:pt x="128" y="2263"/>
                  </a:cubicBezTo>
                  <a:cubicBezTo>
                    <a:pt x="442" y="2167"/>
                    <a:pt x="1040" y="2045"/>
                    <a:pt x="1658" y="2045"/>
                  </a:cubicBezTo>
                  <a:cubicBezTo>
                    <a:pt x="1995" y="2045"/>
                    <a:pt x="2338" y="2082"/>
                    <a:pt x="2644" y="2179"/>
                  </a:cubicBezTo>
                  <a:cubicBezTo>
                    <a:pt x="3004" y="2327"/>
                    <a:pt x="3321" y="2580"/>
                    <a:pt x="3533" y="2919"/>
                  </a:cubicBezTo>
                  <a:cubicBezTo>
                    <a:pt x="3554" y="2940"/>
                    <a:pt x="3533" y="3003"/>
                    <a:pt x="3490" y="3003"/>
                  </a:cubicBezTo>
                  <a:cubicBezTo>
                    <a:pt x="3300" y="3088"/>
                    <a:pt x="3342" y="3384"/>
                    <a:pt x="3575" y="3384"/>
                  </a:cubicBezTo>
                  <a:cubicBezTo>
                    <a:pt x="3645" y="3381"/>
                    <a:pt x="3715" y="3379"/>
                    <a:pt x="3784" y="3379"/>
                  </a:cubicBezTo>
                  <a:cubicBezTo>
                    <a:pt x="4168" y="3379"/>
                    <a:pt x="4510" y="3434"/>
                    <a:pt x="4653" y="3596"/>
                  </a:cubicBezTo>
                  <a:cubicBezTo>
                    <a:pt x="5078" y="4020"/>
                    <a:pt x="5430" y="4137"/>
                    <a:pt x="5691" y="4137"/>
                  </a:cubicBezTo>
                  <a:cubicBezTo>
                    <a:pt x="6015" y="4137"/>
                    <a:pt x="6197" y="3955"/>
                    <a:pt x="6197" y="3955"/>
                  </a:cubicBezTo>
                  <a:cubicBezTo>
                    <a:pt x="6197" y="3955"/>
                    <a:pt x="7173" y="3362"/>
                    <a:pt x="8208" y="3362"/>
                  </a:cubicBezTo>
                  <a:cubicBezTo>
                    <a:pt x="8484" y="3362"/>
                    <a:pt x="8764" y="3404"/>
                    <a:pt x="9031" y="3511"/>
                  </a:cubicBezTo>
                  <a:cubicBezTo>
                    <a:pt x="9038" y="3517"/>
                    <a:pt x="9044" y="3520"/>
                    <a:pt x="9050" y="3520"/>
                  </a:cubicBezTo>
                  <a:cubicBezTo>
                    <a:pt x="9065" y="3520"/>
                    <a:pt x="9080" y="3505"/>
                    <a:pt x="9095" y="3490"/>
                  </a:cubicBezTo>
                  <a:cubicBezTo>
                    <a:pt x="9244" y="3247"/>
                    <a:pt x="9936" y="2248"/>
                    <a:pt x="10969" y="2248"/>
                  </a:cubicBezTo>
                  <a:cubicBezTo>
                    <a:pt x="11107" y="2248"/>
                    <a:pt x="11251" y="2266"/>
                    <a:pt x="11400" y="2305"/>
                  </a:cubicBezTo>
                  <a:cubicBezTo>
                    <a:pt x="11409" y="2308"/>
                    <a:pt x="11417" y="2310"/>
                    <a:pt x="11424" y="2310"/>
                  </a:cubicBezTo>
                  <a:cubicBezTo>
                    <a:pt x="11473" y="2310"/>
                    <a:pt x="11500" y="2255"/>
                    <a:pt x="11464" y="2200"/>
                  </a:cubicBezTo>
                  <a:cubicBezTo>
                    <a:pt x="11257" y="1907"/>
                    <a:pt x="10896" y="1726"/>
                    <a:pt x="10530" y="1726"/>
                  </a:cubicBezTo>
                  <a:cubicBezTo>
                    <a:pt x="10446" y="1726"/>
                    <a:pt x="10362" y="1736"/>
                    <a:pt x="10279" y="1756"/>
                  </a:cubicBezTo>
                  <a:cubicBezTo>
                    <a:pt x="10216" y="1756"/>
                    <a:pt x="10173" y="1692"/>
                    <a:pt x="10216" y="1650"/>
                  </a:cubicBezTo>
                  <a:cubicBezTo>
                    <a:pt x="10577" y="1323"/>
                    <a:pt x="11486" y="617"/>
                    <a:pt x="12621" y="617"/>
                  </a:cubicBezTo>
                  <a:cubicBezTo>
                    <a:pt x="12880" y="617"/>
                    <a:pt x="13151" y="654"/>
                    <a:pt x="13430" y="740"/>
                  </a:cubicBezTo>
                  <a:cubicBezTo>
                    <a:pt x="13441" y="747"/>
                    <a:pt x="13450" y="750"/>
                    <a:pt x="13459" y="750"/>
                  </a:cubicBezTo>
                  <a:cubicBezTo>
                    <a:pt x="13505" y="750"/>
                    <a:pt x="13526" y="670"/>
                    <a:pt x="13473" y="635"/>
                  </a:cubicBezTo>
                  <a:cubicBezTo>
                    <a:pt x="13113" y="357"/>
                    <a:pt x="12514" y="3"/>
                    <a:pt x="11889" y="3"/>
                  </a:cubicBezTo>
                  <a:cubicBezTo>
                    <a:pt x="11705" y="3"/>
                    <a:pt x="11519" y="34"/>
                    <a:pt x="11337" y="106"/>
                  </a:cubicBezTo>
                  <a:cubicBezTo>
                    <a:pt x="10173" y="571"/>
                    <a:pt x="9137" y="1333"/>
                    <a:pt x="8714" y="2305"/>
                  </a:cubicBezTo>
                  <a:cubicBezTo>
                    <a:pt x="8714" y="2348"/>
                    <a:pt x="8672" y="2348"/>
                    <a:pt x="8651" y="2348"/>
                  </a:cubicBezTo>
                  <a:cubicBezTo>
                    <a:pt x="8641" y="2348"/>
                    <a:pt x="8629" y="2348"/>
                    <a:pt x="8616" y="2348"/>
                  </a:cubicBezTo>
                  <a:cubicBezTo>
                    <a:pt x="8263" y="2348"/>
                    <a:pt x="6778" y="2367"/>
                    <a:pt x="5901" y="3448"/>
                  </a:cubicBezTo>
                  <a:cubicBezTo>
                    <a:pt x="5891" y="3469"/>
                    <a:pt x="5870" y="3479"/>
                    <a:pt x="5848" y="3479"/>
                  </a:cubicBezTo>
                  <a:cubicBezTo>
                    <a:pt x="5827" y="3479"/>
                    <a:pt x="5806" y="3469"/>
                    <a:pt x="5796" y="3448"/>
                  </a:cubicBezTo>
                  <a:cubicBezTo>
                    <a:pt x="5531" y="2938"/>
                    <a:pt x="5031" y="2630"/>
                    <a:pt x="4490" y="2630"/>
                  </a:cubicBezTo>
                  <a:cubicBezTo>
                    <a:pt x="4425" y="2630"/>
                    <a:pt x="4360" y="2635"/>
                    <a:pt x="4294" y="2644"/>
                  </a:cubicBezTo>
                  <a:cubicBezTo>
                    <a:pt x="4282" y="2650"/>
                    <a:pt x="4269" y="2653"/>
                    <a:pt x="4258" y="2653"/>
                  </a:cubicBezTo>
                  <a:cubicBezTo>
                    <a:pt x="4230" y="2653"/>
                    <a:pt x="4209" y="2638"/>
                    <a:pt x="4209" y="2623"/>
                  </a:cubicBezTo>
                  <a:cubicBezTo>
                    <a:pt x="4061" y="2284"/>
                    <a:pt x="2898" y="85"/>
                    <a:pt x="233" y="0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" name="Google Shape;226;p3"/>
            <p:cNvSpPr/>
            <p:nvPr/>
          </p:nvSpPr>
          <p:spPr>
            <a:xfrm rot="-325182">
              <a:off x="985255" y="3580587"/>
              <a:ext cx="1894914" cy="1286191"/>
            </a:xfrm>
            <a:custGeom>
              <a:avLst/>
              <a:gdLst/>
              <a:ahLst/>
              <a:cxnLst/>
              <a:rect l="l" t="t" r="r" b="b"/>
              <a:pathLst>
                <a:path w="21087" h="14313" extrusionOk="0">
                  <a:moveTo>
                    <a:pt x="8381" y="0"/>
                  </a:moveTo>
                  <a:cubicBezTo>
                    <a:pt x="8264" y="0"/>
                    <a:pt x="8155" y="25"/>
                    <a:pt x="8059" y="79"/>
                  </a:cubicBezTo>
                  <a:cubicBezTo>
                    <a:pt x="7192" y="566"/>
                    <a:pt x="8862" y="1856"/>
                    <a:pt x="8862" y="1856"/>
                  </a:cubicBezTo>
                  <a:cubicBezTo>
                    <a:pt x="8862" y="1856"/>
                    <a:pt x="7477" y="1216"/>
                    <a:pt x="6476" y="1216"/>
                  </a:cubicBezTo>
                  <a:cubicBezTo>
                    <a:pt x="6297" y="1216"/>
                    <a:pt x="6130" y="1237"/>
                    <a:pt x="5986" y="1285"/>
                  </a:cubicBezTo>
                  <a:cubicBezTo>
                    <a:pt x="5055" y="1602"/>
                    <a:pt x="6303" y="2448"/>
                    <a:pt x="6303" y="2448"/>
                  </a:cubicBezTo>
                  <a:cubicBezTo>
                    <a:pt x="6303" y="2448"/>
                    <a:pt x="3089" y="2998"/>
                    <a:pt x="2729" y="3527"/>
                  </a:cubicBezTo>
                  <a:cubicBezTo>
                    <a:pt x="2370" y="4076"/>
                    <a:pt x="3871" y="4098"/>
                    <a:pt x="3871" y="4098"/>
                  </a:cubicBezTo>
                  <a:cubicBezTo>
                    <a:pt x="3871" y="4098"/>
                    <a:pt x="572" y="5388"/>
                    <a:pt x="149" y="6043"/>
                  </a:cubicBezTo>
                  <a:cubicBezTo>
                    <a:pt x="1" y="6262"/>
                    <a:pt x="161" y="6335"/>
                    <a:pt x="439" y="6335"/>
                  </a:cubicBezTo>
                  <a:cubicBezTo>
                    <a:pt x="997" y="6335"/>
                    <a:pt x="2031" y="6043"/>
                    <a:pt x="2031" y="6043"/>
                  </a:cubicBezTo>
                  <a:lnTo>
                    <a:pt x="2031" y="6043"/>
                  </a:lnTo>
                  <a:cubicBezTo>
                    <a:pt x="2031" y="6043"/>
                    <a:pt x="255" y="7333"/>
                    <a:pt x="339" y="8116"/>
                  </a:cubicBezTo>
                  <a:cubicBezTo>
                    <a:pt x="369" y="8334"/>
                    <a:pt x="513" y="8412"/>
                    <a:pt x="705" y="8412"/>
                  </a:cubicBezTo>
                  <a:cubicBezTo>
                    <a:pt x="1205" y="8412"/>
                    <a:pt x="2031" y="7883"/>
                    <a:pt x="2031" y="7883"/>
                  </a:cubicBezTo>
                  <a:lnTo>
                    <a:pt x="2031" y="7883"/>
                  </a:lnTo>
                  <a:cubicBezTo>
                    <a:pt x="2031" y="7883"/>
                    <a:pt x="107" y="9977"/>
                    <a:pt x="360" y="10633"/>
                  </a:cubicBezTo>
                  <a:cubicBezTo>
                    <a:pt x="423" y="10781"/>
                    <a:pt x="607" y="10838"/>
                    <a:pt x="855" y="10838"/>
                  </a:cubicBezTo>
                  <a:cubicBezTo>
                    <a:pt x="1705" y="10838"/>
                    <a:pt x="3300" y="10167"/>
                    <a:pt x="3300" y="10167"/>
                  </a:cubicBezTo>
                  <a:lnTo>
                    <a:pt x="3300" y="10167"/>
                  </a:lnTo>
                  <a:cubicBezTo>
                    <a:pt x="3300" y="10168"/>
                    <a:pt x="2179" y="12134"/>
                    <a:pt x="2983" y="12134"/>
                  </a:cubicBezTo>
                  <a:cubicBezTo>
                    <a:pt x="3765" y="12113"/>
                    <a:pt x="5225" y="11246"/>
                    <a:pt x="5225" y="11246"/>
                  </a:cubicBezTo>
                  <a:lnTo>
                    <a:pt x="5225" y="11246"/>
                  </a:lnTo>
                  <a:cubicBezTo>
                    <a:pt x="5225" y="11246"/>
                    <a:pt x="4367" y="13585"/>
                    <a:pt x="5122" y="13585"/>
                  </a:cubicBezTo>
                  <a:cubicBezTo>
                    <a:pt x="5153" y="13585"/>
                    <a:pt x="5187" y="13581"/>
                    <a:pt x="5225" y="13572"/>
                  </a:cubicBezTo>
                  <a:cubicBezTo>
                    <a:pt x="6176" y="13340"/>
                    <a:pt x="7762" y="11965"/>
                    <a:pt x="7763" y="11965"/>
                  </a:cubicBezTo>
                  <a:lnTo>
                    <a:pt x="7763" y="11965"/>
                  </a:lnTo>
                  <a:cubicBezTo>
                    <a:pt x="7763" y="11965"/>
                    <a:pt x="6917" y="14313"/>
                    <a:pt x="7826" y="14313"/>
                  </a:cubicBezTo>
                  <a:cubicBezTo>
                    <a:pt x="8355" y="14313"/>
                    <a:pt x="9835" y="13382"/>
                    <a:pt x="10364" y="12536"/>
                  </a:cubicBezTo>
                  <a:cubicBezTo>
                    <a:pt x="10893" y="13382"/>
                    <a:pt x="12394" y="14313"/>
                    <a:pt x="12923" y="14313"/>
                  </a:cubicBezTo>
                  <a:cubicBezTo>
                    <a:pt x="13832" y="14313"/>
                    <a:pt x="12987" y="11965"/>
                    <a:pt x="12987" y="11965"/>
                  </a:cubicBezTo>
                  <a:lnTo>
                    <a:pt x="12987" y="11965"/>
                  </a:lnTo>
                  <a:cubicBezTo>
                    <a:pt x="12987" y="11965"/>
                    <a:pt x="14573" y="13361"/>
                    <a:pt x="15503" y="13572"/>
                  </a:cubicBezTo>
                  <a:cubicBezTo>
                    <a:pt x="15541" y="13581"/>
                    <a:pt x="15576" y="13585"/>
                    <a:pt x="15609" y="13585"/>
                  </a:cubicBezTo>
                  <a:cubicBezTo>
                    <a:pt x="16380" y="13585"/>
                    <a:pt x="15503" y="11246"/>
                    <a:pt x="15503" y="11246"/>
                  </a:cubicBezTo>
                  <a:lnTo>
                    <a:pt x="15503" y="11246"/>
                  </a:lnTo>
                  <a:cubicBezTo>
                    <a:pt x="15503" y="11246"/>
                    <a:pt x="16984" y="12113"/>
                    <a:pt x="17766" y="12134"/>
                  </a:cubicBezTo>
                  <a:cubicBezTo>
                    <a:pt x="18570" y="12134"/>
                    <a:pt x="17449" y="10168"/>
                    <a:pt x="17449" y="10167"/>
                  </a:cubicBezTo>
                  <a:lnTo>
                    <a:pt x="17449" y="10167"/>
                  </a:lnTo>
                  <a:cubicBezTo>
                    <a:pt x="17449" y="10167"/>
                    <a:pt x="18954" y="10894"/>
                    <a:pt x="19728" y="10894"/>
                  </a:cubicBezTo>
                  <a:cubicBezTo>
                    <a:pt x="19943" y="10894"/>
                    <a:pt x="20101" y="10838"/>
                    <a:pt x="20156" y="10696"/>
                  </a:cubicBezTo>
                  <a:cubicBezTo>
                    <a:pt x="20410" y="10041"/>
                    <a:pt x="18697" y="7905"/>
                    <a:pt x="18697" y="7904"/>
                  </a:cubicBezTo>
                  <a:lnTo>
                    <a:pt x="18697" y="7904"/>
                  </a:lnTo>
                  <a:cubicBezTo>
                    <a:pt x="18697" y="7905"/>
                    <a:pt x="19523" y="8433"/>
                    <a:pt x="20023" y="8433"/>
                  </a:cubicBezTo>
                  <a:cubicBezTo>
                    <a:pt x="20215" y="8433"/>
                    <a:pt x="20359" y="8355"/>
                    <a:pt x="20389" y="8137"/>
                  </a:cubicBezTo>
                  <a:cubicBezTo>
                    <a:pt x="20495" y="7355"/>
                    <a:pt x="18697" y="6043"/>
                    <a:pt x="18697" y="6043"/>
                  </a:cubicBezTo>
                  <a:cubicBezTo>
                    <a:pt x="18697" y="6043"/>
                    <a:pt x="21087" y="6043"/>
                    <a:pt x="20643" y="5388"/>
                  </a:cubicBezTo>
                  <a:cubicBezTo>
                    <a:pt x="20220" y="4732"/>
                    <a:pt x="16836" y="4098"/>
                    <a:pt x="16836" y="4098"/>
                  </a:cubicBezTo>
                  <a:cubicBezTo>
                    <a:pt x="16836" y="4098"/>
                    <a:pt x="18316" y="3421"/>
                    <a:pt x="17978" y="2871"/>
                  </a:cubicBezTo>
                  <a:cubicBezTo>
                    <a:pt x="17721" y="2493"/>
                    <a:pt x="16007" y="2439"/>
                    <a:pt x="15049" y="2439"/>
                  </a:cubicBezTo>
                  <a:cubicBezTo>
                    <a:pt x="14666" y="2439"/>
                    <a:pt x="14404" y="2448"/>
                    <a:pt x="14404" y="2448"/>
                  </a:cubicBezTo>
                  <a:cubicBezTo>
                    <a:pt x="14404" y="2448"/>
                    <a:pt x="15778" y="1390"/>
                    <a:pt x="14848" y="1052"/>
                  </a:cubicBezTo>
                  <a:cubicBezTo>
                    <a:pt x="14734" y="1013"/>
                    <a:pt x="14604" y="996"/>
                    <a:pt x="14463" y="996"/>
                  </a:cubicBezTo>
                  <a:cubicBezTo>
                    <a:pt x="13447" y="996"/>
                    <a:pt x="11866" y="1877"/>
                    <a:pt x="11866" y="1877"/>
                  </a:cubicBezTo>
                  <a:cubicBezTo>
                    <a:pt x="11866" y="1877"/>
                    <a:pt x="12458" y="883"/>
                    <a:pt x="12141" y="523"/>
                  </a:cubicBezTo>
                  <a:cubicBezTo>
                    <a:pt x="12029" y="390"/>
                    <a:pt x="11890" y="333"/>
                    <a:pt x="11737" y="333"/>
                  </a:cubicBezTo>
                  <a:cubicBezTo>
                    <a:pt x="11285" y="333"/>
                    <a:pt x="10712" y="831"/>
                    <a:pt x="10364" y="1306"/>
                  </a:cubicBezTo>
                  <a:cubicBezTo>
                    <a:pt x="9969" y="767"/>
                    <a:pt x="9041" y="0"/>
                    <a:pt x="8381" y="0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" name="Google Shape;227;p3"/>
            <p:cNvSpPr/>
            <p:nvPr/>
          </p:nvSpPr>
          <p:spPr>
            <a:xfrm rot="-325182">
              <a:off x="917084" y="3512909"/>
              <a:ext cx="2003198" cy="1427453"/>
            </a:xfrm>
            <a:custGeom>
              <a:avLst/>
              <a:gdLst/>
              <a:ahLst/>
              <a:cxnLst/>
              <a:rect l="l" t="t" r="r" b="b"/>
              <a:pathLst>
                <a:path w="22292" h="15885" extrusionOk="0">
                  <a:moveTo>
                    <a:pt x="11633" y="2729"/>
                  </a:moveTo>
                  <a:lnTo>
                    <a:pt x="11442" y="3047"/>
                  </a:lnTo>
                  <a:lnTo>
                    <a:pt x="11421" y="3026"/>
                  </a:lnTo>
                  <a:lnTo>
                    <a:pt x="11633" y="2729"/>
                  </a:lnTo>
                  <a:close/>
                  <a:moveTo>
                    <a:pt x="14572" y="2666"/>
                  </a:moveTo>
                  <a:lnTo>
                    <a:pt x="12753" y="4083"/>
                  </a:lnTo>
                  <a:lnTo>
                    <a:pt x="12753" y="4083"/>
                  </a:lnTo>
                  <a:lnTo>
                    <a:pt x="15207" y="3998"/>
                  </a:lnTo>
                  <a:cubicBezTo>
                    <a:pt x="15392" y="3993"/>
                    <a:pt x="15577" y="3990"/>
                    <a:pt x="15762" y="3990"/>
                  </a:cubicBezTo>
                  <a:cubicBezTo>
                    <a:pt x="16317" y="3990"/>
                    <a:pt x="16872" y="4014"/>
                    <a:pt x="17428" y="4062"/>
                  </a:cubicBezTo>
                  <a:cubicBezTo>
                    <a:pt x="17385" y="4104"/>
                    <a:pt x="17322" y="4125"/>
                    <a:pt x="17279" y="4146"/>
                  </a:cubicBezTo>
                  <a:lnTo>
                    <a:pt x="15016" y="5204"/>
                  </a:lnTo>
                  <a:lnTo>
                    <a:pt x="17470" y="5669"/>
                  </a:lnTo>
                  <a:cubicBezTo>
                    <a:pt x="18020" y="5775"/>
                    <a:pt x="18591" y="5902"/>
                    <a:pt x="19098" y="6029"/>
                  </a:cubicBezTo>
                  <a:lnTo>
                    <a:pt x="17005" y="6029"/>
                  </a:lnTo>
                  <a:lnTo>
                    <a:pt x="18485" y="7086"/>
                  </a:lnTo>
                  <a:lnTo>
                    <a:pt x="18485" y="7086"/>
                  </a:lnTo>
                  <a:lnTo>
                    <a:pt x="15862" y="5415"/>
                  </a:lnTo>
                  <a:lnTo>
                    <a:pt x="18823" y="9138"/>
                  </a:lnTo>
                  <a:cubicBezTo>
                    <a:pt x="19225" y="9645"/>
                    <a:pt x="19585" y="10195"/>
                    <a:pt x="19902" y="10745"/>
                  </a:cubicBezTo>
                  <a:cubicBezTo>
                    <a:pt x="19437" y="10618"/>
                    <a:pt x="18971" y="10428"/>
                    <a:pt x="18527" y="10216"/>
                  </a:cubicBezTo>
                  <a:lnTo>
                    <a:pt x="16264" y="9138"/>
                  </a:lnTo>
                  <a:lnTo>
                    <a:pt x="17491" y="11337"/>
                  </a:lnTo>
                  <a:cubicBezTo>
                    <a:pt x="17597" y="11506"/>
                    <a:pt x="17702" y="11697"/>
                    <a:pt x="17787" y="11887"/>
                  </a:cubicBezTo>
                  <a:cubicBezTo>
                    <a:pt x="17385" y="11718"/>
                    <a:pt x="17026" y="11549"/>
                    <a:pt x="16666" y="11337"/>
                  </a:cubicBezTo>
                  <a:lnTo>
                    <a:pt x="14742" y="10195"/>
                  </a:lnTo>
                  <a:lnTo>
                    <a:pt x="15524" y="12289"/>
                  </a:lnTo>
                  <a:cubicBezTo>
                    <a:pt x="15630" y="12606"/>
                    <a:pt x="15736" y="12945"/>
                    <a:pt x="15799" y="13262"/>
                  </a:cubicBezTo>
                  <a:cubicBezTo>
                    <a:pt x="15249" y="12923"/>
                    <a:pt x="14742" y="12543"/>
                    <a:pt x="14255" y="12141"/>
                  </a:cubicBezTo>
                  <a:lnTo>
                    <a:pt x="11992" y="10132"/>
                  </a:lnTo>
                  <a:lnTo>
                    <a:pt x="12986" y="12987"/>
                  </a:lnTo>
                  <a:cubicBezTo>
                    <a:pt x="13113" y="13368"/>
                    <a:pt x="13219" y="13727"/>
                    <a:pt x="13282" y="14129"/>
                  </a:cubicBezTo>
                  <a:cubicBezTo>
                    <a:pt x="12690" y="13812"/>
                    <a:pt x="12182" y="13389"/>
                    <a:pt x="11802" y="12881"/>
                  </a:cubicBezTo>
                  <a:lnTo>
                    <a:pt x="11125" y="11824"/>
                  </a:lnTo>
                  <a:lnTo>
                    <a:pt x="10448" y="12881"/>
                  </a:lnTo>
                  <a:cubicBezTo>
                    <a:pt x="10046" y="13389"/>
                    <a:pt x="9539" y="13812"/>
                    <a:pt x="8968" y="14129"/>
                  </a:cubicBezTo>
                  <a:cubicBezTo>
                    <a:pt x="9031" y="13748"/>
                    <a:pt x="9116" y="13368"/>
                    <a:pt x="9243" y="12987"/>
                  </a:cubicBezTo>
                  <a:lnTo>
                    <a:pt x="10258" y="10132"/>
                  </a:lnTo>
                  <a:lnTo>
                    <a:pt x="10258" y="10132"/>
                  </a:lnTo>
                  <a:lnTo>
                    <a:pt x="7974" y="12141"/>
                  </a:lnTo>
                  <a:cubicBezTo>
                    <a:pt x="7487" y="12564"/>
                    <a:pt x="6980" y="12945"/>
                    <a:pt x="6430" y="13283"/>
                  </a:cubicBezTo>
                  <a:cubicBezTo>
                    <a:pt x="6514" y="12945"/>
                    <a:pt x="6599" y="12606"/>
                    <a:pt x="6726" y="12289"/>
                  </a:cubicBezTo>
                  <a:lnTo>
                    <a:pt x="7487" y="10195"/>
                  </a:lnTo>
                  <a:lnTo>
                    <a:pt x="5584" y="11337"/>
                  </a:lnTo>
                  <a:cubicBezTo>
                    <a:pt x="5224" y="11549"/>
                    <a:pt x="4844" y="11739"/>
                    <a:pt x="4463" y="11887"/>
                  </a:cubicBezTo>
                  <a:cubicBezTo>
                    <a:pt x="4548" y="11718"/>
                    <a:pt x="4632" y="11506"/>
                    <a:pt x="4738" y="11337"/>
                  </a:cubicBezTo>
                  <a:lnTo>
                    <a:pt x="5901" y="9307"/>
                  </a:lnTo>
                  <a:lnTo>
                    <a:pt x="3744" y="10216"/>
                  </a:lnTo>
                  <a:cubicBezTo>
                    <a:pt x="3236" y="10428"/>
                    <a:pt x="2708" y="10597"/>
                    <a:pt x="2158" y="10745"/>
                  </a:cubicBezTo>
                  <a:cubicBezTo>
                    <a:pt x="2517" y="10195"/>
                    <a:pt x="2940" y="9688"/>
                    <a:pt x="3384" y="9201"/>
                  </a:cubicBezTo>
                  <a:lnTo>
                    <a:pt x="7530" y="4696"/>
                  </a:lnTo>
                  <a:lnTo>
                    <a:pt x="7530" y="4696"/>
                  </a:lnTo>
                  <a:lnTo>
                    <a:pt x="3723" y="7129"/>
                  </a:lnTo>
                  <a:lnTo>
                    <a:pt x="3723" y="7129"/>
                  </a:lnTo>
                  <a:lnTo>
                    <a:pt x="6874" y="4844"/>
                  </a:lnTo>
                  <a:lnTo>
                    <a:pt x="8651" y="4146"/>
                  </a:lnTo>
                  <a:lnTo>
                    <a:pt x="6557" y="4104"/>
                  </a:lnTo>
                  <a:cubicBezTo>
                    <a:pt x="6768" y="4062"/>
                    <a:pt x="6980" y="4041"/>
                    <a:pt x="7212" y="3998"/>
                  </a:cubicBezTo>
                  <a:lnTo>
                    <a:pt x="9137" y="3660"/>
                  </a:lnTo>
                  <a:lnTo>
                    <a:pt x="8016" y="2899"/>
                  </a:lnTo>
                  <a:lnTo>
                    <a:pt x="8016" y="2899"/>
                  </a:lnTo>
                  <a:cubicBezTo>
                    <a:pt x="8460" y="3026"/>
                    <a:pt x="8883" y="3174"/>
                    <a:pt x="9285" y="3364"/>
                  </a:cubicBezTo>
                  <a:lnTo>
                    <a:pt x="10808" y="4083"/>
                  </a:lnTo>
                  <a:lnTo>
                    <a:pt x="10385" y="4781"/>
                  </a:lnTo>
                  <a:lnTo>
                    <a:pt x="10385" y="4781"/>
                  </a:lnTo>
                  <a:lnTo>
                    <a:pt x="11273" y="4295"/>
                  </a:lnTo>
                  <a:lnTo>
                    <a:pt x="15588" y="6325"/>
                  </a:lnTo>
                  <a:lnTo>
                    <a:pt x="12288" y="3723"/>
                  </a:lnTo>
                  <a:lnTo>
                    <a:pt x="12986" y="3343"/>
                  </a:lnTo>
                  <a:cubicBezTo>
                    <a:pt x="13494" y="3047"/>
                    <a:pt x="14022" y="2835"/>
                    <a:pt x="14572" y="2666"/>
                  </a:cubicBezTo>
                  <a:close/>
                  <a:moveTo>
                    <a:pt x="9171" y="0"/>
                  </a:moveTo>
                  <a:cubicBezTo>
                    <a:pt x="8920" y="0"/>
                    <a:pt x="8673" y="58"/>
                    <a:pt x="8439" y="192"/>
                  </a:cubicBezTo>
                  <a:cubicBezTo>
                    <a:pt x="8079" y="382"/>
                    <a:pt x="7826" y="741"/>
                    <a:pt x="7805" y="1164"/>
                  </a:cubicBezTo>
                  <a:lnTo>
                    <a:pt x="7805" y="1249"/>
                  </a:lnTo>
                  <a:cubicBezTo>
                    <a:pt x="7645" y="1226"/>
                    <a:pt x="7488" y="1214"/>
                    <a:pt x="7334" y="1214"/>
                  </a:cubicBezTo>
                  <a:cubicBezTo>
                    <a:pt x="7057" y="1214"/>
                    <a:pt x="6786" y="1252"/>
                    <a:pt x="6514" y="1334"/>
                  </a:cubicBezTo>
                  <a:cubicBezTo>
                    <a:pt x="6049" y="1439"/>
                    <a:pt x="5711" y="1820"/>
                    <a:pt x="5647" y="2285"/>
                  </a:cubicBezTo>
                  <a:cubicBezTo>
                    <a:pt x="5626" y="2433"/>
                    <a:pt x="5626" y="2560"/>
                    <a:pt x="5668" y="2708"/>
                  </a:cubicBezTo>
                  <a:cubicBezTo>
                    <a:pt x="3279" y="3216"/>
                    <a:pt x="2961" y="3723"/>
                    <a:pt x="2856" y="3893"/>
                  </a:cubicBezTo>
                  <a:cubicBezTo>
                    <a:pt x="2644" y="4168"/>
                    <a:pt x="2602" y="4527"/>
                    <a:pt x="2729" y="4844"/>
                  </a:cubicBezTo>
                  <a:cubicBezTo>
                    <a:pt x="1650" y="5331"/>
                    <a:pt x="593" y="5902"/>
                    <a:pt x="254" y="6388"/>
                  </a:cubicBezTo>
                  <a:cubicBezTo>
                    <a:pt x="0" y="6727"/>
                    <a:pt x="0" y="7171"/>
                    <a:pt x="233" y="7509"/>
                  </a:cubicBezTo>
                  <a:cubicBezTo>
                    <a:pt x="339" y="7657"/>
                    <a:pt x="487" y="7784"/>
                    <a:pt x="677" y="7848"/>
                  </a:cubicBezTo>
                  <a:cubicBezTo>
                    <a:pt x="423" y="8186"/>
                    <a:pt x="318" y="8588"/>
                    <a:pt x="339" y="9011"/>
                  </a:cubicBezTo>
                  <a:cubicBezTo>
                    <a:pt x="381" y="9349"/>
                    <a:pt x="571" y="9666"/>
                    <a:pt x="868" y="9836"/>
                  </a:cubicBezTo>
                  <a:cubicBezTo>
                    <a:pt x="106" y="10999"/>
                    <a:pt x="296" y="11485"/>
                    <a:pt x="381" y="11697"/>
                  </a:cubicBezTo>
                  <a:cubicBezTo>
                    <a:pt x="487" y="11972"/>
                    <a:pt x="698" y="12183"/>
                    <a:pt x="952" y="12289"/>
                  </a:cubicBezTo>
                  <a:cubicBezTo>
                    <a:pt x="1142" y="12371"/>
                    <a:pt x="1368" y="12405"/>
                    <a:pt x="1615" y="12405"/>
                  </a:cubicBezTo>
                  <a:cubicBezTo>
                    <a:pt x="1944" y="12405"/>
                    <a:pt x="2312" y="12343"/>
                    <a:pt x="2686" y="12247"/>
                  </a:cubicBezTo>
                  <a:lnTo>
                    <a:pt x="2686" y="12247"/>
                  </a:lnTo>
                  <a:cubicBezTo>
                    <a:pt x="2623" y="12564"/>
                    <a:pt x="2665" y="12902"/>
                    <a:pt x="2813" y="13198"/>
                  </a:cubicBezTo>
                  <a:cubicBezTo>
                    <a:pt x="3004" y="13516"/>
                    <a:pt x="3363" y="13706"/>
                    <a:pt x="3723" y="13706"/>
                  </a:cubicBezTo>
                  <a:cubicBezTo>
                    <a:pt x="4082" y="13685"/>
                    <a:pt x="4442" y="13600"/>
                    <a:pt x="4780" y="13473"/>
                  </a:cubicBezTo>
                  <a:lnTo>
                    <a:pt x="4780" y="13473"/>
                  </a:lnTo>
                  <a:cubicBezTo>
                    <a:pt x="4717" y="14065"/>
                    <a:pt x="4801" y="14510"/>
                    <a:pt x="5076" y="14785"/>
                  </a:cubicBezTo>
                  <a:cubicBezTo>
                    <a:pt x="5287" y="15011"/>
                    <a:pt x="5571" y="15139"/>
                    <a:pt x="5873" y="15139"/>
                  </a:cubicBezTo>
                  <a:cubicBezTo>
                    <a:pt x="5966" y="15139"/>
                    <a:pt x="6061" y="15127"/>
                    <a:pt x="6155" y="15102"/>
                  </a:cubicBezTo>
                  <a:cubicBezTo>
                    <a:pt x="6578" y="14996"/>
                    <a:pt x="6980" y="14806"/>
                    <a:pt x="7360" y="14552"/>
                  </a:cubicBezTo>
                  <a:cubicBezTo>
                    <a:pt x="7360" y="14869"/>
                    <a:pt x="7445" y="15144"/>
                    <a:pt x="7614" y="15398"/>
                  </a:cubicBezTo>
                  <a:cubicBezTo>
                    <a:pt x="7847" y="15715"/>
                    <a:pt x="8185" y="15884"/>
                    <a:pt x="8566" y="15884"/>
                  </a:cubicBezTo>
                  <a:cubicBezTo>
                    <a:pt x="9222" y="15884"/>
                    <a:pt x="10321" y="15250"/>
                    <a:pt x="11125" y="14510"/>
                  </a:cubicBezTo>
                  <a:cubicBezTo>
                    <a:pt x="11908" y="15250"/>
                    <a:pt x="13007" y="15884"/>
                    <a:pt x="13684" y="15884"/>
                  </a:cubicBezTo>
                  <a:cubicBezTo>
                    <a:pt x="14044" y="15884"/>
                    <a:pt x="14382" y="15694"/>
                    <a:pt x="14615" y="15398"/>
                  </a:cubicBezTo>
                  <a:cubicBezTo>
                    <a:pt x="14763" y="15144"/>
                    <a:pt x="14868" y="14869"/>
                    <a:pt x="14868" y="14552"/>
                  </a:cubicBezTo>
                  <a:cubicBezTo>
                    <a:pt x="15249" y="14806"/>
                    <a:pt x="15651" y="14996"/>
                    <a:pt x="16074" y="15123"/>
                  </a:cubicBezTo>
                  <a:cubicBezTo>
                    <a:pt x="16168" y="15148"/>
                    <a:pt x="16264" y="15160"/>
                    <a:pt x="16358" y="15160"/>
                  </a:cubicBezTo>
                  <a:cubicBezTo>
                    <a:pt x="16665" y="15160"/>
                    <a:pt x="16958" y="15032"/>
                    <a:pt x="17153" y="14806"/>
                  </a:cubicBezTo>
                  <a:cubicBezTo>
                    <a:pt x="17406" y="14510"/>
                    <a:pt x="17512" y="14087"/>
                    <a:pt x="17449" y="13473"/>
                  </a:cubicBezTo>
                  <a:lnTo>
                    <a:pt x="17449" y="13473"/>
                  </a:lnTo>
                  <a:cubicBezTo>
                    <a:pt x="17787" y="13621"/>
                    <a:pt x="18147" y="13685"/>
                    <a:pt x="18506" y="13706"/>
                  </a:cubicBezTo>
                  <a:cubicBezTo>
                    <a:pt x="18525" y="13707"/>
                    <a:pt x="18544" y="13708"/>
                    <a:pt x="18563" y="13708"/>
                  </a:cubicBezTo>
                  <a:cubicBezTo>
                    <a:pt x="18923" y="13708"/>
                    <a:pt x="19256" y="13520"/>
                    <a:pt x="19437" y="13198"/>
                  </a:cubicBezTo>
                  <a:cubicBezTo>
                    <a:pt x="19585" y="12945"/>
                    <a:pt x="19627" y="12627"/>
                    <a:pt x="19564" y="12331"/>
                  </a:cubicBezTo>
                  <a:lnTo>
                    <a:pt x="19564" y="12331"/>
                  </a:lnTo>
                  <a:cubicBezTo>
                    <a:pt x="19824" y="12422"/>
                    <a:pt x="20091" y="12464"/>
                    <a:pt x="20354" y="12464"/>
                  </a:cubicBezTo>
                  <a:cubicBezTo>
                    <a:pt x="20582" y="12464"/>
                    <a:pt x="20807" y="12432"/>
                    <a:pt x="21023" y="12374"/>
                  </a:cubicBezTo>
                  <a:cubicBezTo>
                    <a:pt x="21319" y="12268"/>
                    <a:pt x="21531" y="12035"/>
                    <a:pt x="21636" y="11760"/>
                  </a:cubicBezTo>
                  <a:cubicBezTo>
                    <a:pt x="21805" y="11316"/>
                    <a:pt x="21679" y="10703"/>
                    <a:pt x="21234" y="9899"/>
                  </a:cubicBezTo>
                  <a:lnTo>
                    <a:pt x="21298" y="9878"/>
                  </a:lnTo>
                  <a:cubicBezTo>
                    <a:pt x="21636" y="9709"/>
                    <a:pt x="21869" y="9370"/>
                    <a:pt x="21911" y="8990"/>
                  </a:cubicBezTo>
                  <a:cubicBezTo>
                    <a:pt x="21975" y="8461"/>
                    <a:pt x="21679" y="7911"/>
                    <a:pt x="21256" y="7403"/>
                  </a:cubicBezTo>
                  <a:cubicBezTo>
                    <a:pt x="21890" y="7213"/>
                    <a:pt x="22059" y="6938"/>
                    <a:pt x="22123" y="6790"/>
                  </a:cubicBezTo>
                  <a:cubicBezTo>
                    <a:pt x="22292" y="6452"/>
                    <a:pt x="22271" y="6029"/>
                    <a:pt x="22059" y="5733"/>
                  </a:cubicBezTo>
                  <a:cubicBezTo>
                    <a:pt x="21700" y="5204"/>
                    <a:pt x="20600" y="4781"/>
                    <a:pt x="19394" y="4464"/>
                  </a:cubicBezTo>
                  <a:cubicBezTo>
                    <a:pt x="19437" y="4379"/>
                    <a:pt x="19500" y="4273"/>
                    <a:pt x="19521" y="4168"/>
                  </a:cubicBezTo>
                  <a:cubicBezTo>
                    <a:pt x="19627" y="3850"/>
                    <a:pt x="19564" y="3512"/>
                    <a:pt x="19394" y="3237"/>
                  </a:cubicBezTo>
                  <a:cubicBezTo>
                    <a:pt x="19246" y="3026"/>
                    <a:pt x="18929" y="2539"/>
                    <a:pt x="16708" y="2433"/>
                  </a:cubicBezTo>
                  <a:cubicBezTo>
                    <a:pt x="16814" y="1841"/>
                    <a:pt x="16455" y="1249"/>
                    <a:pt x="15862" y="1101"/>
                  </a:cubicBezTo>
                  <a:cubicBezTo>
                    <a:pt x="15665" y="1030"/>
                    <a:pt x="15444" y="1000"/>
                    <a:pt x="15211" y="1000"/>
                  </a:cubicBezTo>
                  <a:cubicBezTo>
                    <a:pt x="14744" y="1000"/>
                    <a:pt x="14227" y="1122"/>
                    <a:pt x="13748" y="1291"/>
                  </a:cubicBezTo>
                  <a:cubicBezTo>
                    <a:pt x="13705" y="1101"/>
                    <a:pt x="13621" y="932"/>
                    <a:pt x="13515" y="805"/>
                  </a:cubicBezTo>
                  <a:cubicBezTo>
                    <a:pt x="13261" y="488"/>
                    <a:pt x="12859" y="318"/>
                    <a:pt x="12457" y="318"/>
                  </a:cubicBezTo>
                  <a:cubicBezTo>
                    <a:pt x="11950" y="382"/>
                    <a:pt x="11485" y="593"/>
                    <a:pt x="11125" y="932"/>
                  </a:cubicBezTo>
                  <a:cubicBezTo>
                    <a:pt x="10595" y="449"/>
                    <a:pt x="9871" y="0"/>
                    <a:pt x="917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" name="Google Shape;228;p3"/>
            <p:cNvSpPr/>
            <p:nvPr/>
          </p:nvSpPr>
          <p:spPr>
            <a:xfrm rot="-325182">
              <a:off x="985255" y="3580587"/>
              <a:ext cx="1894914" cy="1286191"/>
            </a:xfrm>
            <a:custGeom>
              <a:avLst/>
              <a:gdLst/>
              <a:ahLst/>
              <a:cxnLst/>
              <a:rect l="l" t="t" r="r" b="b"/>
              <a:pathLst>
                <a:path w="21087" h="14313" extrusionOk="0">
                  <a:moveTo>
                    <a:pt x="8381" y="0"/>
                  </a:moveTo>
                  <a:cubicBezTo>
                    <a:pt x="8264" y="0"/>
                    <a:pt x="8155" y="25"/>
                    <a:pt x="8059" y="79"/>
                  </a:cubicBezTo>
                  <a:cubicBezTo>
                    <a:pt x="7192" y="566"/>
                    <a:pt x="8862" y="1856"/>
                    <a:pt x="8862" y="1856"/>
                  </a:cubicBezTo>
                  <a:cubicBezTo>
                    <a:pt x="8862" y="1856"/>
                    <a:pt x="7477" y="1216"/>
                    <a:pt x="6476" y="1216"/>
                  </a:cubicBezTo>
                  <a:cubicBezTo>
                    <a:pt x="6297" y="1216"/>
                    <a:pt x="6130" y="1237"/>
                    <a:pt x="5986" y="1285"/>
                  </a:cubicBezTo>
                  <a:cubicBezTo>
                    <a:pt x="5055" y="1602"/>
                    <a:pt x="6303" y="2448"/>
                    <a:pt x="6303" y="2448"/>
                  </a:cubicBezTo>
                  <a:cubicBezTo>
                    <a:pt x="6303" y="2448"/>
                    <a:pt x="3089" y="2998"/>
                    <a:pt x="2729" y="3527"/>
                  </a:cubicBezTo>
                  <a:cubicBezTo>
                    <a:pt x="2370" y="4076"/>
                    <a:pt x="3871" y="4098"/>
                    <a:pt x="3871" y="4098"/>
                  </a:cubicBezTo>
                  <a:cubicBezTo>
                    <a:pt x="3871" y="4098"/>
                    <a:pt x="572" y="5388"/>
                    <a:pt x="149" y="6043"/>
                  </a:cubicBezTo>
                  <a:cubicBezTo>
                    <a:pt x="1" y="6262"/>
                    <a:pt x="161" y="6335"/>
                    <a:pt x="439" y="6335"/>
                  </a:cubicBezTo>
                  <a:cubicBezTo>
                    <a:pt x="997" y="6335"/>
                    <a:pt x="2031" y="6043"/>
                    <a:pt x="2031" y="6043"/>
                  </a:cubicBezTo>
                  <a:lnTo>
                    <a:pt x="2031" y="6043"/>
                  </a:lnTo>
                  <a:cubicBezTo>
                    <a:pt x="2031" y="6043"/>
                    <a:pt x="255" y="7333"/>
                    <a:pt x="339" y="8116"/>
                  </a:cubicBezTo>
                  <a:cubicBezTo>
                    <a:pt x="369" y="8334"/>
                    <a:pt x="513" y="8412"/>
                    <a:pt x="705" y="8412"/>
                  </a:cubicBezTo>
                  <a:cubicBezTo>
                    <a:pt x="1205" y="8412"/>
                    <a:pt x="2031" y="7883"/>
                    <a:pt x="2031" y="7883"/>
                  </a:cubicBezTo>
                  <a:lnTo>
                    <a:pt x="2031" y="7883"/>
                  </a:lnTo>
                  <a:cubicBezTo>
                    <a:pt x="2031" y="7883"/>
                    <a:pt x="107" y="9977"/>
                    <a:pt x="360" y="10633"/>
                  </a:cubicBezTo>
                  <a:cubicBezTo>
                    <a:pt x="423" y="10781"/>
                    <a:pt x="607" y="10838"/>
                    <a:pt x="855" y="10838"/>
                  </a:cubicBezTo>
                  <a:cubicBezTo>
                    <a:pt x="1705" y="10838"/>
                    <a:pt x="3300" y="10167"/>
                    <a:pt x="3300" y="10167"/>
                  </a:cubicBezTo>
                  <a:lnTo>
                    <a:pt x="3300" y="10167"/>
                  </a:lnTo>
                  <a:cubicBezTo>
                    <a:pt x="3300" y="10168"/>
                    <a:pt x="2179" y="12134"/>
                    <a:pt x="2983" y="12134"/>
                  </a:cubicBezTo>
                  <a:cubicBezTo>
                    <a:pt x="3765" y="12113"/>
                    <a:pt x="5225" y="11246"/>
                    <a:pt x="5225" y="11246"/>
                  </a:cubicBezTo>
                  <a:lnTo>
                    <a:pt x="5225" y="11246"/>
                  </a:lnTo>
                  <a:cubicBezTo>
                    <a:pt x="5225" y="11246"/>
                    <a:pt x="4367" y="13585"/>
                    <a:pt x="5122" y="13585"/>
                  </a:cubicBezTo>
                  <a:cubicBezTo>
                    <a:pt x="5153" y="13585"/>
                    <a:pt x="5187" y="13581"/>
                    <a:pt x="5225" y="13572"/>
                  </a:cubicBezTo>
                  <a:cubicBezTo>
                    <a:pt x="6176" y="13340"/>
                    <a:pt x="7762" y="11965"/>
                    <a:pt x="7763" y="11965"/>
                  </a:cubicBezTo>
                  <a:lnTo>
                    <a:pt x="7763" y="11965"/>
                  </a:lnTo>
                  <a:cubicBezTo>
                    <a:pt x="7763" y="11965"/>
                    <a:pt x="6917" y="14313"/>
                    <a:pt x="7826" y="14313"/>
                  </a:cubicBezTo>
                  <a:cubicBezTo>
                    <a:pt x="8355" y="14313"/>
                    <a:pt x="9835" y="13382"/>
                    <a:pt x="10364" y="12536"/>
                  </a:cubicBezTo>
                  <a:cubicBezTo>
                    <a:pt x="10914" y="13382"/>
                    <a:pt x="12394" y="14313"/>
                    <a:pt x="12923" y="14313"/>
                  </a:cubicBezTo>
                  <a:cubicBezTo>
                    <a:pt x="13832" y="14313"/>
                    <a:pt x="12987" y="11965"/>
                    <a:pt x="12987" y="11965"/>
                  </a:cubicBezTo>
                  <a:lnTo>
                    <a:pt x="12987" y="11965"/>
                  </a:lnTo>
                  <a:cubicBezTo>
                    <a:pt x="12987" y="11965"/>
                    <a:pt x="14573" y="13361"/>
                    <a:pt x="15503" y="13572"/>
                  </a:cubicBezTo>
                  <a:cubicBezTo>
                    <a:pt x="15541" y="13581"/>
                    <a:pt x="15576" y="13585"/>
                    <a:pt x="15609" y="13585"/>
                  </a:cubicBezTo>
                  <a:cubicBezTo>
                    <a:pt x="16380" y="13585"/>
                    <a:pt x="15503" y="11246"/>
                    <a:pt x="15503" y="11246"/>
                  </a:cubicBezTo>
                  <a:lnTo>
                    <a:pt x="15503" y="11246"/>
                  </a:lnTo>
                  <a:cubicBezTo>
                    <a:pt x="15503" y="11246"/>
                    <a:pt x="16984" y="12113"/>
                    <a:pt x="17766" y="12134"/>
                  </a:cubicBezTo>
                  <a:cubicBezTo>
                    <a:pt x="18570" y="12134"/>
                    <a:pt x="17449" y="10168"/>
                    <a:pt x="17449" y="10167"/>
                  </a:cubicBezTo>
                  <a:lnTo>
                    <a:pt x="17449" y="10167"/>
                  </a:lnTo>
                  <a:cubicBezTo>
                    <a:pt x="17449" y="10167"/>
                    <a:pt x="18954" y="10894"/>
                    <a:pt x="19728" y="10894"/>
                  </a:cubicBezTo>
                  <a:cubicBezTo>
                    <a:pt x="19943" y="10894"/>
                    <a:pt x="20101" y="10838"/>
                    <a:pt x="20156" y="10696"/>
                  </a:cubicBezTo>
                  <a:cubicBezTo>
                    <a:pt x="20410" y="10041"/>
                    <a:pt x="18697" y="7905"/>
                    <a:pt x="18697" y="7904"/>
                  </a:cubicBezTo>
                  <a:lnTo>
                    <a:pt x="18697" y="7904"/>
                  </a:lnTo>
                  <a:cubicBezTo>
                    <a:pt x="18697" y="7905"/>
                    <a:pt x="19523" y="8433"/>
                    <a:pt x="20023" y="8433"/>
                  </a:cubicBezTo>
                  <a:cubicBezTo>
                    <a:pt x="20215" y="8433"/>
                    <a:pt x="20359" y="8355"/>
                    <a:pt x="20389" y="8137"/>
                  </a:cubicBezTo>
                  <a:cubicBezTo>
                    <a:pt x="20495" y="7355"/>
                    <a:pt x="18697" y="6043"/>
                    <a:pt x="18697" y="6043"/>
                  </a:cubicBezTo>
                  <a:cubicBezTo>
                    <a:pt x="18697" y="6043"/>
                    <a:pt x="21087" y="6043"/>
                    <a:pt x="20643" y="5388"/>
                  </a:cubicBezTo>
                  <a:cubicBezTo>
                    <a:pt x="20198" y="4732"/>
                    <a:pt x="16836" y="4098"/>
                    <a:pt x="16836" y="4098"/>
                  </a:cubicBezTo>
                  <a:cubicBezTo>
                    <a:pt x="16836" y="4098"/>
                    <a:pt x="18316" y="3421"/>
                    <a:pt x="17978" y="2871"/>
                  </a:cubicBezTo>
                  <a:cubicBezTo>
                    <a:pt x="17721" y="2493"/>
                    <a:pt x="16007" y="2439"/>
                    <a:pt x="15049" y="2439"/>
                  </a:cubicBezTo>
                  <a:cubicBezTo>
                    <a:pt x="14666" y="2439"/>
                    <a:pt x="14404" y="2448"/>
                    <a:pt x="14404" y="2448"/>
                  </a:cubicBezTo>
                  <a:cubicBezTo>
                    <a:pt x="14404" y="2448"/>
                    <a:pt x="15778" y="1390"/>
                    <a:pt x="14848" y="1052"/>
                  </a:cubicBezTo>
                  <a:cubicBezTo>
                    <a:pt x="14734" y="1013"/>
                    <a:pt x="14604" y="996"/>
                    <a:pt x="14462" y="996"/>
                  </a:cubicBezTo>
                  <a:cubicBezTo>
                    <a:pt x="13442" y="996"/>
                    <a:pt x="11844" y="1877"/>
                    <a:pt x="11844" y="1877"/>
                  </a:cubicBezTo>
                  <a:cubicBezTo>
                    <a:pt x="11844" y="1877"/>
                    <a:pt x="12458" y="883"/>
                    <a:pt x="12141" y="523"/>
                  </a:cubicBezTo>
                  <a:cubicBezTo>
                    <a:pt x="12029" y="390"/>
                    <a:pt x="11890" y="333"/>
                    <a:pt x="11737" y="333"/>
                  </a:cubicBezTo>
                  <a:cubicBezTo>
                    <a:pt x="11285" y="333"/>
                    <a:pt x="10712" y="831"/>
                    <a:pt x="10364" y="1306"/>
                  </a:cubicBezTo>
                  <a:cubicBezTo>
                    <a:pt x="9969" y="767"/>
                    <a:pt x="9041" y="0"/>
                    <a:pt x="838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" name="Google Shape;229;p3"/>
            <p:cNvSpPr/>
            <p:nvPr/>
          </p:nvSpPr>
          <p:spPr>
            <a:xfrm rot="-325182">
              <a:off x="1903309" y="3854841"/>
              <a:ext cx="446703" cy="479412"/>
            </a:xfrm>
            <a:custGeom>
              <a:avLst/>
              <a:gdLst/>
              <a:ahLst/>
              <a:cxnLst/>
              <a:rect l="l" t="t" r="r" b="b"/>
              <a:pathLst>
                <a:path w="4971" h="5335" extrusionOk="0">
                  <a:moveTo>
                    <a:pt x="2832" y="0"/>
                  </a:moveTo>
                  <a:cubicBezTo>
                    <a:pt x="1144" y="0"/>
                    <a:pt x="1" y="3310"/>
                    <a:pt x="1" y="3310"/>
                  </a:cubicBezTo>
                  <a:cubicBezTo>
                    <a:pt x="1" y="3310"/>
                    <a:pt x="96" y="5335"/>
                    <a:pt x="2776" y="5335"/>
                  </a:cubicBezTo>
                  <a:cubicBezTo>
                    <a:pt x="3194" y="5335"/>
                    <a:pt x="3676" y="5285"/>
                    <a:pt x="4231" y="5171"/>
                  </a:cubicBezTo>
                  <a:cubicBezTo>
                    <a:pt x="4675" y="5065"/>
                    <a:pt x="4971" y="4685"/>
                    <a:pt x="4971" y="4262"/>
                  </a:cubicBezTo>
                  <a:cubicBezTo>
                    <a:pt x="4971" y="2908"/>
                    <a:pt x="4823" y="793"/>
                    <a:pt x="3427" y="138"/>
                  </a:cubicBezTo>
                  <a:cubicBezTo>
                    <a:pt x="3222" y="43"/>
                    <a:pt x="3024" y="0"/>
                    <a:pt x="2832" y="0"/>
                  </a:cubicBezTo>
                  <a:close/>
                </a:path>
              </a:pathLst>
            </a:custGeom>
            <a:solidFill>
              <a:srgbClr val="D9D8B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" name="Google Shape;230;p3"/>
            <p:cNvSpPr/>
            <p:nvPr/>
          </p:nvSpPr>
          <p:spPr>
            <a:xfrm rot="-325182">
              <a:off x="1652809" y="3946322"/>
              <a:ext cx="545461" cy="603781"/>
            </a:xfrm>
            <a:custGeom>
              <a:avLst/>
              <a:gdLst/>
              <a:ahLst/>
              <a:cxnLst/>
              <a:rect l="l" t="t" r="r" b="b"/>
              <a:pathLst>
                <a:path w="6070" h="6719" extrusionOk="0">
                  <a:moveTo>
                    <a:pt x="2589" y="0"/>
                  </a:moveTo>
                  <a:cubicBezTo>
                    <a:pt x="219" y="0"/>
                    <a:pt x="0" y="5197"/>
                    <a:pt x="0" y="5197"/>
                  </a:cubicBezTo>
                  <a:cubicBezTo>
                    <a:pt x="0" y="5197"/>
                    <a:pt x="568" y="6718"/>
                    <a:pt x="2444" y="6718"/>
                  </a:cubicBezTo>
                  <a:cubicBezTo>
                    <a:pt x="3203" y="6718"/>
                    <a:pt x="4177" y="6469"/>
                    <a:pt x="5414" y="5768"/>
                  </a:cubicBezTo>
                  <a:cubicBezTo>
                    <a:pt x="5858" y="5514"/>
                    <a:pt x="6070" y="4985"/>
                    <a:pt x="5922" y="4499"/>
                  </a:cubicBezTo>
                  <a:cubicBezTo>
                    <a:pt x="5435" y="2976"/>
                    <a:pt x="4611" y="269"/>
                    <a:pt x="2813" y="15"/>
                  </a:cubicBezTo>
                  <a:cubicBezTo>
                    <a:pt x="2736" y="5"/>
                    <a:pt x="2662" y="0"/>
                    <a:pt x="258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" name="Google Shape;231;p3"/>
            <p:cNvSpPr/>
            <p:nvPr/>
          </p:nvSpPr>
          <p:spPr>
            <a:xfrm rot="-325182">
              <a:off x="1653395" y="3958528"/>
              <a:ext cx="275606" cy="604500"/>
            </a:xfrm>
            <a:custGeom>
              <a:avLst/>
              <a:gdLst/>
              <a:ahLst/>
              <a:cxnLst/>
              <a:rect l="l" t="t" r="r" b="b"/>
              <a:pathLst>
                <a:path w="3067" h="6727" extrusionOk="0">
                  <a:moveTo>
                    <a:pt x="2559" y="0"/>
                  </a:moveTo>
                  <a:cubicBezTo>
                    <a:pt x="338" y="43"/>
                    <a:pt x="21" y="4653"/>
                    <a:pt x="0" y="5161"/>
                  </a:cubicBezTo>
                  <a:cubicBezTo>
                    <a:pt x="0" y="5203"/>
                    <a:pt x="0" y="5224"/>
                    <a:pt x="21" y="5245"/>
                  </a:cubicBezTo>
                  <a:cubicBezTo>
                    <a:pt x="120" y="5501"/>
                    <a:pt x="767" y="6726"/>
                    <a:pt x="2456" y="6726"/>
                  </a:cubicBezTo>
                  <a:cubicBezTo>
                    <a:pt x="2583" y="6726"/>
                    <a:pt x="2716" y="6719"/>
                    <a:pt x="2855" y="6705"/>
                  </a:cubicBezTo>
                  <a:cubicBezTo>
                    <a:pt x="2982" y="6683"/>
                    <a:pt x="3067" y="6557"/>
                    <a:pt x="3003" y="6430"/>
                  </a:cubicBezTo>
                  <a:cubicBezTo>
                    <a:pt x="1988" y="4526"/>
                    <a:pt x="1671" y="2073"/>
                    <a:pt x="2728" y="296"/>
                  </a:cubicBezTo>
                  <a:cubicBezTo>
                    <a:pt x="2623" y="148"/>
                    <a:pt x="2644" y="169"/>
                    <a:pt x="2559" y="0"/>
                  </a:cubicBezTo>
                  <a:close/>
                </a:path>
              </a:pathLst>
            </a:custGeom>
            <a:solidFill>
              <a:srgbClr val="EDEC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" name="Google Shape;232;p3"/>
            <p:cNvSpPr/>
            <p:nvPr/>
          </p:nvSpPr>
          <p:spPr>
            <a:xfrm rot="-325182">
              <a:off x="1369583" y="4220987"/>
              <a:ext cx="1215470" cy="371848"/>
            </a:xfrm>
            <a:custGeom>
              <a:avLst/>
              <a:gdLst/>
              <a:ahLst/>
              <a:cxnLst/>
              <a:rect l="l" t="t" r="r" b="b"/>
              <a:pathLst>
                <a:path w="13526" h="4138" extrusionOk="0">
                  <a:moveTo>
                    <a:pt x="233" y="0"/>
                  </a:moveTo>
                  <a:cubicBezTo>
                    <a:pt x="149" y="0"/>
                    <a:pt x="106" y="127"/>
                    <a:pt x="191" y="148"/>
                  </a:cubicBezTo>
                  <a:cubicBezTo>
                    <a:pt x="783" y="381"/>
                    <a:pt x="1333" y="740"/>
                    <a:pt x="1777" y="1206"/>
                  </a:cubicBezTo>
                  <a:cubicBezTo>
                    <a:pt x="1819" y="1227"/>
                    <a:pt x="1798" y="1290"/>
                    <a:pt x="1756" y="1311"/>
                  </a:cubicBezTo>
                  <a:cubicBezTo>
                    <a:pt x="1122" y="1438"/>
                    <a:pt x="550" y="1713"/>
                    <a:pt x="64" y="2136"/>
                  </a:cubicBezTo>
                  <a:cubicBezTo>
                    <a:pt x="1" y="2179"/>
                    <a:pt x="43" y="2263"/>
                    <a:pt x="128" y="2263"/>
                  </a:cubicBezTo>
                  <a:cubicBezTo>
                    <a:pt x="442" y="2167"/>
                    <a:pt x="1040" y="2045"/>
                    <a:pt x="1658" y="2045"/>
                  </a:cubicBezTo>
                  <a:cubicBezTo>
                    <a:pt x="1995" y="2045"/>
                    <a:pt x="2338" y="2082"/>
                    <a:pt x="2644" y="2179"/>
                  </a:cubicBezTo>
                  <a:cubicBezTo>
                    <a:pt x="3004" y="2327"/>
                    <a:pt x="3321" y="2580"/>
                    <a:pt x="3533" y="2919"/>
                  </a:cubicBezTo>
                  <a:cubicBezTo>
                    <a:pt x="3554" y="2940"/>
                    <a:pt x="3533" y="3003"/>
                    <a:pt x="3490" y="3003"/>
                  </a:cubicBezTo>
                  <a:cubicBezTo>
                    <a:pt x="3300" y="3088"/>
                    <a:pt x="3342" y="3384"/>
                    <a:pt x="3575" y="3384"/>
                  </a:cubicBezTo>
                  <a:cubicBezTo>
                    <a:pt x="3645" y="3381"/>
                    <a:pt x="3715" y="3379"/>
                    <a:pt x="3784" y="3379"/>
                  </a:cubicBezTo>
                  <a:cubicBezTo>
                    <a:pt x="4168" y="3379"/>
                    <a:pt x="4510" y="3434"/>
                    <a:pt x="4653" y="3596"/>
                  </a:cubicBezTo>
                  <a:cubicBezTo>
                    <a:pt x="5078" y="4020"/>
                    <a:pt x="5430" y="4137"/>
                    <a:pt x="5691" y="4137"/>
                  </a:cubicBezTo>
                  <a:cubicBezTo>
                    <a:pt x="6015" y="4137"/>
                    <a:pt x="6197" y="3955"/>
                    <a:pt x="6197" y="3955"/>
                  </a:cubicBezTo>
                  <a:cubicBezTo>
                    <a:pt x="6197" y="3955"/>
                    <a:pt x="7173" y="3362"/>
                    <a:pt x="8208" y="3362"/>
                  </a:cubicBezTo>
                  <a:cubicBezTo>
                    <a:pt x="8484" y="3362"/>
                    <a:pt x="8764" y="3404"/>
                    <a:pt x="9031" y="3511"/>
                  </a:cubicBezTo>
                  <a:cubicBezTo>
                    <a:pt x="9038" y="3517"/>
                    <a:pt x="9044" y="3520"/>
                    <a:pt x="9050" y="3520"/>
                  </a:cubicBezTo>
                  <a:cubicBezTo>
                    <a:pt x="9065" y="3520"/>
                    <a:pt x="9080" y="3505"/>
                    <a:pt x="9095" y="3490"/>
                  </a:cubicBezTo>
                  <a:cubicBezTo>
                    <a:pt x="9244" y="3247"/>
                    <a:pt x="9936" y="2248"/>
                    <a:pt x="10969" y="2248"/>
                  </a:cubicBezTo>
                  <a:cubicBezTo>
                    <a:pt x="11107" y="2248"/>
                    <a:pt x="11251" y="2266"/>
                    <a:pt x="11400" y="2305"/>
                  </a:cubicBezTo>
                  <a:cubicBezTo>
                    <a:pt x="11409" y="2308"/>
                    <a:pt x="11417" y="2310"/>
                    <a:pt x="11424" y="2310"/>
                  </a:cubicBezTo>
                  <a:cubicBezTo>
                    <a:pt x="11473" y="2310"/>
                    <a:pt x="11500" y="2255"/>
                    <a:pt x="11464" y="2200"/>
                  </a:cubicBezTo>
                  <a:cubicBezTo>
                    <a:pt x="11257" y="1907"/>
                    <a:pt x="10896" y="1726"/>
                    <a:pt x="10530" y="1726"/>
                  </a:cubicBezTo>
                  <a:cubicBezTo>
                    <a:pt x="10446" y="1726"/>
                    <a:pt x="10362" y="1736"/>
                    <a:pt x="10279" y="1756"/>
                  </a:cubicBezTo>
                  <a:cubicBezTo>
                    <a:pt x="10216" y="1756"/>
                    <a:pt x="10173" y="1692"/>
                    <a:pt x="10216" y="1650"/>
                  </a:cubicBezTo>
                  <a:cubicBezTo>
                    <a:pt x="10577" y="1323"/>
                    <a:pt x="11486" y="617"/>
                    <a:pt x="12621" y="617"/>
                  </a:cubicBezTo>
                  <a:cubicBezTo>
                    <a:pt x="12880" y="617"/>
                    <a:pt x="13151" y="654"/>
                    <a:pt x="13430" y="740"/>
                  </a:cubicBezTo>
                  <a:cubicBezTo>
                    <a:pt x="13441" y="747"/>
                    <a:pt x="13450" y="750"/>
                    <a:pt x="13459" y="750"/>
                  </a:cubicBezTo>
                  <a:cubicBezTo>
                    <a:pt x="13505" y="750"/>
                    <a:pt x="13526" y="670"/>
                    <a:pt x="13473" y="635"/>
                  </a:cubicBezTo>
                  <a:cubicBezTo>
                    <a:pt x="13113" y="357"/>
                    <a:pt x="12514" y="3"/>
                    <a:pt x="11889" y="3"/>
                  </a:cubicBezTo>
                  <a:cubicBezTo>
                    <a:pt x="11705" y="3"/>
                    <a:pt x="11519" y="34"/>
                    <a:pt x="11337" y="106"/>
                  </a:cubicBezTo>
                  <a:cubicBezTo>
                    <a:pt x="10173" y="571"/>
                    <a:pt x="9137" y="1333"/>
                    <a:pt x="8714" y="2305"/>
                  </a:cubicBezTo>
                  <a:cubicBezTo>
                    <a:pt x="8714" y="2348"/>
                    <a:pt x="8672" y="2348"/>
                    <a:pt x="8651" y="2348"/>
                  </a:cubicBezTo>
                  <a:cubicBezTo>
                    <a:pt x="8641" y="2348"/>
                    <a:pt x="8629" y="2348"/>
                    <a:pt x="8616" y="2348"/>
                  </a:cubicBezTo>
                  <a:cubicBezTo>
                    <a:pt x="8263" y="2348"/>
                    <a:pt x="6778" y="2367"/>
                    <a:pt x="5901" y="3448"/>
                  </a:cubicBezTo>
                  <a:cubicBezTo>
                    <a:pt x="5891" y="3469"/>
                    <a:pt x="5870" y="3479"/>
                    <a:pt x="5848" y="3479"/>
                  </a:cubicBezTo>
                  <a:cubicBezTo>
                    <a:pt x="5827" y="3479"/>
                    <a:pt x="5806" y="3469"/>
                    <a:pt x="5796" y="3448"/>
                  </a:cubicBezTo>
                  <a:cubicBezTo>
                    <a:pt x="5531" y="2938"/>
                    <a:pt x="5031" y="2630"/>
                    <a:pt x="4490" y="2630"/>
                  </a:cubicBezTo>
                  <a:cubicBezTo>
                    <a:pt x="4425" y="2630"/>
                    <a:pt x="4360" y="2635"/>
                    <a:pt x="4294" y="2644"/>
                  </a:cubicBezTo>
                  <a:cubicBezTo>
                    <a:pt x="4282" y="2650"/>
                    <a:pt x="4269" y="2653"/>
                    <a:pt x="4258" y="2653"/>
                  </a:cubicBezTo>
                  <a:cubicBezTo>
                    <a:pt x="4230" y="2653"/>
                    <a:pt x="4209" y="2638"/>
                    <a:pt x="4209" y="2623"/>
                  </a:cubicBezTo>
                  <a:cubicBezTo>
                    <a:pt x="4061" y="2284"/>
                    <a:pt x="2898" y="85"/>
                    <a:pt x="23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" name="Google Shape;233;p3"/>
            <p:cNvSpPr/>
            <p:nvPr/>
          </p:nvSpPr>
          <p:spPr>
            <a:xfrm rot="360229" flipH="1">
              <a:off x="6434748" y="2522915"/>
              <a:ext cx="2349923" cy="2313042"/>
            </a:xfrm>
            <a:custGeom>
              <a:avLst/>
              <a:gdLst/>
              <a:ahLst/>
              <a:cxnLst/>
              <a:rect l="l" t="t" r="r" b="b"/>
              <a:pathLst>
                <a:path w="25825" h="25419" extrusionOk="0">
                  <a:moveTo>
                    <a:pt x="21574" y="1"/>
                  </a:moveTo>
                  <a:cubicBezTo>
                    <a:pt x="20540" y="1"/>
                    <a:pt x="19473" y="716"/>
                    <a:pt x="19522" y="1627"/>
                  </a:cubicBezTo>
                  <a:cubicBezTo>
                    <a:pt x="19219" y="1092"/>
                    <a:pt x="18645" y="767"/>
                    <a:pt x="18042" y="767"/>
                  </a:cubicBezTo>
                  <a:cubicBezTo>
                    <a:pt x="17929" y="767"/>
                    <a:pt x="17816" y="779"/>
                    <a:pt x="17703" y="802"/>
                  </a:cubicBezTo>
                  <a:cubicBezTo>
                    <a:pt x="17026" y="908"/>
                    <a:pt x="16582" y="1542"/>
                    <a:pt x="16709" y="2219"/>
                  </a:cubicBezTo>
                  <a:cubicBezTo>
                    <a:pt x="16529" y="2029"/>
                    <a:pt x="16291" y="1933"/>
                    <a:pt x="16053" y="1933"/>
                  </a:cubicBezTo>
                  <a:cubicBezTo>
                    <a:pt x="15815" y="1933"/>
                    <a:pt x="15577" y="2029"/>
                    <a:pt x="15398" y="2219"/>
                  </a:cubicBezTo>
                  <a:cubicBezTo>
                    <a:pt x="14724" y="2852"/>
                    <a:pt x="14760" y="3878"/>
                    <a:pt x="14763" y="3949"/>
                  </a:cubicBezTo>
                  <a:lnTo>
                    <a:pt x="14763" y="3949"/>
                  </a:lnTo>
                  <a:cubicBezTo>
                    <a:pt x="12289" y="5545"/>
                    <a:pt x="10470" y="8183"/>
                    <a:pt x="10470" y="8183"/>
                  </a:cubicBezTo>
                  <a:cubicBezTo>
                    <a:pt x="10343" y="8373"/>
                    <a:pt x="10279" y="8606"/>
                    <a:pt x="10301" y="8839"/>
                  </a:cubicBezTo>
                  <a:cubicBezTo>
                    <a:pt x="10026" y="9135"/>
                    <a:pt x="9814" y="9410"/>
                    <a:pt x="9645" y="9642"/>
                  </a:cubicBezTo>
                  <a:cubicBezTo>
                    <a:pt x="9328" y="9537"/>
                    <a:pt x="9010" y="9494"/>
                    <a:pt x="8693" y="9473"/>
                  </a:cubicBezTo>
                  <a:cubicBezTo>
                    <a:pt x="8038" y="9473"/>
                    <a:pt x="7784" y="9685"/>
                    <a:pt x="7741" y="9960"/>
                  </a:cubicBezTo>
                  <a:cubicBezTo>
                    <a:pt x="7234" y="9811"/>
                    <a:pt x="6726" y="9706"/>
                    <a:pt x="6198" y="9663"/>
                  </a:cubicBezTo>
                  <a:cubicBezTo>
                    <a:pt x="6621" y="8521"/>
                    <a:pt x="7826" y="5116"/>
                    <a:pt x="6747" y="5011"/>
                  </a:cubicBezTo>
                  <a:cubicBezTo>
                    <a:pt x="6712" y="5007"/>
                    <a:pt x="6678" y="5005"/>
                    <a:pt x="6645" y="5005"/>
                  </a:cubicBezTo>
                  <a:cubicBezTo>
                    <a:pt x="5915" y="5005"/>
                    <a:pt x="5599" y="5866"/>
                    <a:pt x="5457" y="6533"/>
                  </a:cubicBezTo>
                  <a:cubicBezTo>
                    <a:pt x="5542" y="5666"/>
                    <a:pt x="5521" y="4376"/>
                    <a:pt x="4865" y="4376"/>
                  </a:cubicBezTo>
                  <a:cubicBezTo>
                    <a:pt x="3871" y="4376"/>
                    <a:pt x="3871" y="6660"/>
                    <a:pt x="3871" y="6660"/>
                  </a:cubicBezTo>
                  <a:cubicBezTo>
                    <a:pt x="3871" y="6660"/>
                    <a:pt x="3814" y="4358"/>
                    <a:pt x="3004" y="4358"/>
                  </a:cubicBezTo>
                  <a:cubicBezTo>
                    <a:pt x="2964" y="4358"/>
                    <a:pt x="2921" y="4364"/>
                    <a:pt x="2877" y="4376"/>
                  </a:cubicBezTo>
                  <a:cubicBezTo>
                    <a:pt x="1947" y="4630"/>
                    <a:pt x="2116" y="7189"/>
                    <a:pt x="2116" y="7189"/>
                  </a:cubicBezTo>
                  <a:cubicBezTo>
                    <a:pt x="2116" y="7189"/>
                    <a:pt x="1884" y="4885"/>
                    <a:pt x="1170" y="4885"/>
                  </a:cubicBezTo>
                  <a:cubicBezTo>
                    <a:pt x="1078" y="4885"/>
                    <a:pt x="977" y="4923"/>
                    <a:pt x="868" y="5011"/>
                  </a:cubicBezTo>
                  <a:cubicBezTo>
                    <a:pt x="1" y="5709"/>
                    <a:pt x="614" y="12645"/>
                    <a:pt x="3385" y="13576"/>
                  </a:cubicBezTo>
                  <a:cubicBezTo>
                    <a:pt x="3702" y="14676"/>
                    <a:pt x="4125" y="15733"/>
                    <a:pt x="4675" y="16727"/>
                  </a:cubicBezTo>
                  <a:cubicBezTo>
                    <a:pt x="5775" y="18800"/>
                    <a:pt x="7720" y="20323"/>
                    <a:pt x="9941" y="21126"/>
                  </a:cubicBezTo>
                  <a:lnTo>
                    <a:pt x="10554" y="24256"/>
                  </a:lnTo>
                  <a:cubicBezTo>
                    <a:pt x="10576" y="24383"/>
                    <a:pt x="10660" y="24531"/>
                    <a:pt x="10766" y="24616"/>
                  </a:cubicBezTo>
                  <a:cubicBezTo>
                    <a:pt x="11095" y="24891"/>
                    <a:pt x="11773" y="25419"/>
                    <a:pt x="12142" y="25419"/>
                  </a:cubicBezTo>
                  <a:cubicBezTo>
                    <a:pt x="12199" y="25419"/>
                    <a:pt x="12249" y="25406"/>
                    <a:pt x="12289" y="25377"/>
                  </a:cubicBezTo>
                  <a:cubicBezTo>
                    <a:pt x="12712" y="25124"/>
                    <a:pt x="11612" y="24468"/>
                    <a:pt x="11612" y="24468"/>
                  </a:cubicBezTo>
                  <a:lnTo>
                    <a:pt x="11612" y="24468"/>
                  </a:lnTo>
                  <a:cubicBezTo>
                    <a:pt x="11612" y="24468"/>
                    <a:pt x="12739" y="25094"/>
                    <a:pt x="13309" y="25094"/>
                  </a:cubicBezTo>
                  <a:cubicBezTo>
                    <a:pt x="13402" y="25094"/>
                    <a:pt x="13480" y="25077"/>
                    <a:pt x="13536" y="25039"/>
                  </a:cubicBezTo>
                  <a:cubicBezTo>
                    <a:pt x="13938" y="24743"/>
                    <a:pt x="12078" y="24066"/>
                    <a:pt x="12077" y="24066"/>
                  </a:cubicBezTo>
                  <a:lnTo>
                    <a:pt x="12077" y="24066"/>
                  </a:lnTo>
                  <a:cubicBezTo>
                    <a:pt x="12077" y="24066"/>
                    <a:pt x="12885" y="24316"/>
                    <a:pt x="13324" y="24316"/>
                  </a:cubicBezTo>
                  <a:cubicBezTo>
                    <a:pt x="13483" y="24316"/>
                    <a:pt x="13594" y="24283"/>
                    <a:pt x="13600" y="24193"/>
                  </a:cubicBezTo>
                  <a:cubicBezTo>
                    <a:pt x="13600" y="23749"/>
                    <a:pt x="11739" y="23601"/>
                    <a:pt x="11739" y="23601"/>
                  </a:cubicBezTo>
                  <a:lnTo>
                    <a:pt x="11739" y="21613"/>
                  </a:lnTo>
                  <a:cubicBezTo>
                    <a:pt x="12341" y="21719"/>
                    <a:pt x="12944" y="21766"/>
                    <a:pt x="13546" y="21766"/>
                  </a:cubicBezTo>
                  <a:cubicBezTo>
                    <a:pt x="13663" y="21766"/>
                    <a:pt x="13779" y="21764"/>
                    <a:pt x="13896" y="21761"/>
                  </a:cubicBezTo>
                  <a:lnTo>
                    <a:pt x="14171" y="23685"/>
                  </a:lnTo>
                  <a:cubicBezTo>
                    <a:pt x="14192" y="23833"/>
                    <a:pt x="14256" y="23960"/>
                    <a:pt x="14361" y="24045"/>
                  </a:cubicBezTo>
                  <a:cubicBezTo>
                    <a:pt x="14644" y="24309"/>
                    <a:pt x="15247" y="24809"/>
                    <a:pt x="15569" y="24809"/>
                  </a:cubicBezTo>
                  <a:cubicBezTo>
                    <a:pt x="15608" y="24809"/>
                    <a:pt x="15643" y="24801"/>
                    <a:pt x="15673" y="24785"/>
                  </a:cubicBezTo>
                  <a:cubicBezTo>
                    <a:pt x="16074" y="24553"/>
                    <a:pt x="15124" y="23940"/>
                    <a:pt x="15123" y="23939"/>
                  </a:cubicBezTo>
                  <a:lnTo>
                    <a:pt x="15123" y="23939"/>
                  </a:lnTo>
                  <a:cubicBezTo>
                    <a:pt x="15124" y="23940"/>
                    <a:pt x="16092" y="24559"/>
                    <a:pt x="16598" y="24559"/>
                  </a:cubicBezTo>
                  <a:cubicBezTo>
                    <a:pt x="16676" y="24559"/>
                    <a:pt x="16743" y="24544"/>
                    <a:pt x="16793" y="24510"/>
                  </a:cubicBezTo>
                  <a:cubicBezTo>
                    <a:pt x="17153" y="24278"/>
                    <a:pt x="15546" y="23601"/>
                    <a:pt x="15546" y="23601"/>
                  </a:cubicBezTo>
                  <a:lnTo>
                    <a:pt x="15546" y="23601"/>
                  </a:lnTo>
                  <a:cubicBezTo>
                    <a:pt x="15546" y="23601"/>
                    <a:pt x="16316" y="23887"/>
                    <a:pt x="16686" y="23887"/>
                  </a:cubicBezTo>
                  <a:cubicBezTo>
                    <a:pt x="16798" y="23887"/>
                    <a:pt x="16873" y="23860"/>
                    <a:pt x="16878" y="23791"/>
                  </a:cubicBezTo>
                  <a:cubicBezTo>
                    <a:pt x="16899" y="23389"/>
                    <a:pt x="15271" y="23178"/>
                    <a:pt x="15271" y="23178"/>
                  </a:cubicBezTo>
                  <a:lnTo>
                    <a:pt x="15355" y="21592"/>
                  </a:lnTo>
                  <a:cubicBezTo>
                    <a:pt x="17238" y="21232"/>
                    <a:pt x="18951" y="20302"/>
                    <a:pt x="20241" y="18885"/>
                  </a:cubicBezTo>
                  <a:cubicBezTo>
                    <a:pt x="21214" y="18863"/>
                    <a:pt x="22588" y="18462"/>
                    <a:pt x="22715" y="16368"/>
                  </a:cubicBezTo>
                  <a:cubicBezTo>
                    <a:pt x="22758" y="15902"/>
                    <a:pt x="22694" y="15458"/>
                    <a:pt x="22567" y="15014"/>
                  </a:cubicBezTo>
                  <a:cubicBezTo>
                    <a:pt x="23096" y="14866"/>
                    <a:pt x="23730" y="13640"/>
                    <a:pt x="24069" y="12032"/>
                  </a:cubicBezTo>
                  <a:cubicBezTo>
                    <a:pt x="24957" y="11757"/>
                    <a:pt x="25824" y="11250"/>
                    <a:pt x="25740" y="10932"/>
                  </a:cubicBezTo>
                  <a:cubicBezTo>
                    <a:pt x="25655" y="10679"/>
                    <a:pt x="24894" y="10361"/>
                    <a:pt x="24280" y="10150"/>
                  </a:cubicBezTo>
                  <a:cubicBezTo>
                    <a:pt x="24344" y="7887"/>
                    <a:pt x="23709" y="5391"/>
                    <a:pt x="21616" y="3890"/>
                  </a:cubicBezTo>
                  <a:lnTo>
                    <a:pt x="21764" y="3869"/>
                  </a:lnTo>
                  <a:cubicBezTo>
                    <a:pt x="22229" y="3763"/>
                    <a:pt x="23857" y="3276"/>
                    <a:pt x="23350" y="1394"/>
                  </a:cubicBezTo>
                  <a:cubicBezTo>
                    <a:pt x="23089" y="394"/>
                    <a:pt x="22340" y="1"/>
                    <a:pt x="21574" y="1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" name="Google Shape;234;p3"/>
            <p:cNvSpPr/>
            <p:nvPr/>
          </p:nvSpPr>
          <p:spPr>
            <a:xfrm rot="360229" flipH="1">
              <a:off x="6346229" y="2449338"/>
              <a:ext cx="2499972" cy="2458455"/>
            </a:xfrm>
            <a:custGeom>
              <a:avLst/>
              <a:gdLst/>
              <a:ahLst/>
              <a:cxnLst/>
              <a:rect l="l" t="t" r="r" b="b"/>
              <a:pathLst>
                <a:path w="27474" h="27017" extrusionOk="0">
                  <a:moveTo>
                    <a:pt x="22311" y="1594"/>
                  </a:moveTo>
                  <a:cubicBezTo>
                    <a:pt x="22780" y="1594"/>
                    <a:pt x="23182" y="1947"/>
                    <a:pt x="23264" y="2420"/>
                  </a:cubicBezTo>
                  <a:cubicBezTo>
                    <a:pt x="23370" y="2716"/>
                    <a:pt x="23349" y="3054"/>
                    <a:pt x="23201" y="3350"/>
                  </a:cubicBezTo>
                  <a:cubicBezTo>
                    <a:pt x="22968" y="3731"/>
                    <a:pt x="22418" y="3879"/>
                    <a:pt x="22249" y="3900"/>
                  </a:cubicBezTo>
                  <a:lnTo>
                    <a:pt x="22186" y="3900"/>
                  </a:lnTo>
                  <a:lnTo>
                    <a:pt x="21065" y="4027"/>
                  </a:lnTo>
                  <a:lnTo>
                    <a:pt x="20980" y="2377"/>
                  </a:lnTo>
                  <a:cubicBezTo>
                    <a:pt x="20959" y="2060"/>
                    <a:pt x="21467" y="1701"/>
                    <a:pt x="21995" y="1616"/>
                  </a:cubicBezTo>
                  <a:cubicBezTo>
                    <a:pt x="22101" y="1595"/>
                    <a:pt x="22186" y="1595"/>
                    <a:pt x="22270" y="1595"/>
                  </a:cubicBezTo>
                  <a:cubicBezTo>
                    <a:pt x="22284" y="1594"/>
                    <a:pt x="22298" y="1594"/>
                    <a:pt x="22311" y="1594"/>
                  </a:cubicBezTo>
                  <a:close/>
                  <a:moveTo>
                    <a:pt x="5372" y="6967"/>
                  </a:moveTo>
                  <a:cubicBezTo>
                    <a:pt x="5372" y="7033"/>
                    <a:pt x="5359" y="7112"/>
                    <a:pt x="5353" y="7204"/>
                  </a:cubicBezTo>
                  <a:lnTo>
                    <a:pt x="5353" y="7204"/>
                  </a:lnTo>
                  <a:cubicBezTo>
                    <a:pt x="5356" y="7121"/>
                    <a:pt x="5361" y="7041"/>
                    <a:pt x="5372" y="6967"/>
                  </a:cubicBezTo>
                  <a:close/>
                  <a:moveTo>
                    <a:pt x="18730" y="2357"/>
                  </a:moveTo>
                  <a:cubicBezTo>
                    <a:pt x="19050" y="2357"/>
                    <a:pt x="19357" y="2540"/>
                    <a:pt x="19500" y="2843"/>
                  </a:cubicBezTo>
                  <a:lnTo>
                    <a:pt x="20240" y="4154"/>
                  </a:lnTo>
                  <a:lnTo>
                    <a:pt x="20134" y="4154"/>
                  </a:lnTo>
                  <a:lnTo>
                    <a:pt x="20303" y="4281"/>
                  </a:lnTo>
                  <a:lnTo>
                    <a:pt x="21171" y="5867"/>
                  </a:lnTo>
                  <a:lnTo>
                    <a:pt x="21128" y="4852"/>
                  </a:lnTo>
                  <a:lnTo>
                    <a:pt x="21826" y="5359"/>
                  </a:lnTo>
                  <a:cubicBezTo>
                    <a:pt x="23962" y="6861"/>
                    <a:pt x="24216" y="9484"/>
                    <a:pt x="24174" y="10943"/>
                  </a:cubicBezTo>
                  <a:lnTo>
                    <a:pt x="24153" y="11514"/>
                  </a:lnTo>
                  <a:lnTo>
                    <a:pt x="24703" y="11704"/>
                  </a:lnTo>
                  <a:cubicBezTo>
                    <a:pt x="24851" y="11768"/>
                    <a:pt x="24999" y="11810"/>
                    <a:pt x="25104" y="11852"/>
                  </a:cubicBezTo>
                  <a:cubicBezTo>
                    <a:pt x="24914" y="11958"/>
                    <a:pt x="24724" y="12021"/>
                    <a:pt x="24512" y="12085"/>
                  </a:cubicBezTo>
                  <a:lnTo>
                    <a:pt x="24047" y="12233"/>
                  </a:lnTo>
                  <a:lnTo>
                    <a:pt x="23962" y="12677"/>
                  </a:lnTo>
                  <a:cubicBezTo>
                    <a:pt x="23666" y="14073"/>
                    <a:pt x="23201" y="14919"/>
                    <a:pt x="22989" y="15067"/>
                  </a:cubicBezTo>
                  <a:lnTo>
                    <a:pt x="22228" y="15278"/>
                  </a:lnTo>
                  <a:lnTo>
                    <a:pt x="22482" y="16061"/>
                  </a:lnTo>
                  <a:cubicBezTo>
                    <a:pt x="22588" y="16399"/>
                    <a:pt x="22630" y="16759"/>
                    <a:pt x="22609" y="17118"/>
                  </a:cubicBezTo>
                  <a:cubicBezTo>
                    <a:pt x="22524" y="18303"/>
                    <a:pt x="21995" y="18874"/>
                    <a:pt x="20896" y="18895"/>
                  </a:cubicBezTo>
                  <a:lnTo>
                    <a:pt x="20557" y="18895"/>
                  </a:lnTo>
                  <a:lnTo>
                    <a:pt x="20325" y="19149"/>
                  </a:lnTo>
                  <a:cubicBezTo>
                    <a:pt x="19161" y="20439"/>
                    <a:pt x="17596" y="21306"/>
                    <a:pt x="15883" y="21602"/>
                  </a:cubicBezTo>
                  <a:lnTo>
                    <a:pt x="15270" y="21729"/>
                  </a:lnTo>
                  <a:lnTo>
                    <a:pt x="14551" y="21750"/>
                  </a:lnTo>
                  <a:cubicBezTo>
                    <a:pt x="14442" y="21754"/>
                    <a:pt x="14332" y="21755"/>
                    <a:pt x="14221" y="21755"/>
                  </a:cubicBezTo>
                  <a:cubicBezTo>
                    <a:pt x="13670" y="21755"/>
                    <a:pt x="13109" y="21711"/>
                    <a:pt x="12563" y="21623"/>
                  </a:cubicBezTo>
                  <a:lnTo>
                    <a:pt x="11632" y="21454"/>
                  </a:lnTo>
                  <a:lnTo>
                    <a:pt x="11632" y="22935"/>
                  </a:lnTo>
                  <a:lnTo>
                    <a:pt x="11315" y="21327"/>
                  </a:lnTo>
                  <a:lnTo>
                    <a:pt x="10892" y="21179"/>
                  </a:lnTo>
                  <a:cubicBezTo>
                    <a:pt x="8735" y="20397"/>
                    <a:pt x="7022" y="18980"/>
                    <a:pt x="6070" y="17140"/>
                  </a:cubicBezTo>
                  <a:cubicBezTo>
                    <a:pt x="5541" y="16209"/>
                    <a:pt x="5118" y="15194"/>
                    <a:pt x="4822" y="14158"/>
                  </a:cubicBezTo>
                  <a:lnTo>
                    <a:pt x="4716" y="13756"/>
                  </a:lnTo>
                  <a:lnTo>
                    <a:pt x="4315" y="13608"/>
                  </a:lnTo>
                  <a:cubicBezTo>
                    <a:pt x="3701" y="13417"/>
                    <a:pt x="3130" y="12677"/>
                    <a:pt x="2707" y="11535"/>
                  </a:cubicBezTo>
                  <a:cubicBezTo>
                    <a:pt x="2284" y="10351"/>
                    <a:pt x="2030" y="9124"/>
                    <a:pt x="1988" y="7855"/>
                  </a:cubicBezTo>
                  <a:lnTo>
                    <a:pt x="1988" y="7855"/>
                  </a:lnTo>
                  <a:cubicBezTo>
                    <a:pt x="2009" y="7940"/>
                    <a:pt x="2009" y="8003"/>
                    <a:pt x="2009" y="8067"/>
                  </a:cubicBezTo>
                  <a:lnTo>
                    <a:pt x="3595" y="7919"/>
                  </a:lnTo>
                  <a:cubicBezTo>
                    <a:pt x="3574" y="7453"/>
                    <a:pt x="3574" y="6967"/>
                    <a:pt x="3659" y="6502"/>
                  </a:cubicBezTo>
                  <a:cubicBezTo>
                    <a:pt x="3722" y="6819"/>
                    <a:pt x="3743" y="7136"/>
                    <a:pt x="3765" y="7474"/>
                  </a:cubicBezTo>
                  <a:lnTo>
                    <a:pt x="5351" y="7453"/>
                  </a:lnTo>
                  <a:cubicBezTo>
                    <a:pt x="5351" y="7397"/>
                    <a:pt x="5351" y="7340"/>
                    <a:pt x="5352" y="7284"/>
                  </a:cubicBezTo>
                  <a:lnTo>
                    <a:pt x="5352" y="7284"/>
                  </a:lnTo>
                  <a:lnTo>
                    <a:pt x="6916" y="7496"/>
                  </a:lnTo>
                  <a:cubicBezTo>
                    <a:pt x="6958" y="7347"/>
                    <a:pt x="7000" y="7199"/>
                    <a:pt x="7043" y="7051"/>
                  </a:cubicBezTo>
                  <a:lnTo>
                    <a:pt x="7043" y="7051"/>
                  </a:lnTo>
                  <a:cubicBezTo>
                    <a:pt x="6852" y="8130"/>
                    <a:pt x="6556" y="9166"/>
                    <a:pt x="6133" y="10181"/>
                  </a:cubicBezTo>
                  <a:lnTo>
                    <a:pt x="5774" y="11154"/>
                  </a:lnTo>
                  <a:lnTo>
                    <a:pt x="6789" y="11260"/>
                  </a:lnTo>
                  <a:cubicBezTo>
                    <a:pt x="7275" y="11302"/>
                    <a:pt x="7741" y="11408"/>
                    <a:pt x="8206" y="11535"/>
                  </a:cubicBezTo>
                  <a:lnTo>
                    <a:pt x="9115" y="11810"/>
                  </a:lnTo>
                  <a:lnTo>
                    <a:pt x="9200" y="11091"/>
                  </a:lnTo>
                  <a:lnTo>
                    <a:pt x="9348" y="11091"/>
                  </a:lnTo>
                  <a:cubicBezTo>
                    <a:pt x="9602" y="11091"/>
                    <a:pt x="9856" y="11133"/>
                    <a:pt x="10109" y="11218"/>
                  </a:cubicBezTo>
                  <a:lnTo>
                    <a:pt x="10617" y="11366"/>
                  </a:lnTo>
                  <a:lnTo>
                    <a:pt x="10934" y="10922"/>
                  </a:lnTo>
                  <a:cubicBezTo>
                    <a:pt x="11125" y="10668"/>
                    <a:pt x="11357" y="10393"/>
                    <a:pt x="11569" y="10139"/>
                  </a:cubicBezTo>
                  <a:lnTo>
                    <a:pt x="11801" y="9864"/>
                  </a:lnTo>
                  <a:lnTo>
                    <a:pt x="11759" y="9547"/>
                  </a:lnTo>
                  <a:cubicBezTo>
                    <a:pt x="11780" y="9505"/>
                    <a:pt x="11801" y="9441"/>
                    <a:pt x="11823" y="9399"/>
                  </a:cubicBezTo>
                  <a:cubicBezTo>
                    <a:pt x="12034" y="9103"/>
                    <a:pt x="13578" y="7009"/>
                    <a:pt x="15587" y="5613"/>
                  </a:cubicBezTo>
                  <a:lnTo>
                    <a:pt x="15862" y="5423"/>
                  </a:lnTo>
                  <a:lnTo>
                    <a:pt x="15989" y="5338"/>
                  </a:lnTo>
                  <a:lnTo>
                    <a:pt x="15629" y="4746"/>
                  </a:lnTo>
                  <a:lnTo>
                    <a:pt x="16222" y="4725"/>
                  </a:lnTo>
                  <a:cubicBezTo>
                    <a:pt x="16200" y="4302"/>
                    <a:pt x="16349" y="3921"/>
                    <a:pt x="16623" y="3604"/>
                  </a:cubicBezTo>
                  <a:cubicBezTo>
                    <a:pt x="16645" y="3562"/>
                    <a:pt x="16687" y="3541"/>
                    <a:pt x="16729" y="3519"/>
                  </a:cubicBezTo>
                  <a:cubicBezTo>
                    <a:pt x="16750" y="3519"/>
                    <a:pt x="16772" y="3541"/>
                    <a:pt x="16793" y="3562"/>
                  </a:cubicBezTo>
                  <a:lnTo>
                    <a:pt x="18738" y="6015"/>
                  </a:lnTo>
                  <a:lnTo>
                    <a:pt x="18167" y="2885"/>
                  </a:lnTo>
                  <a:cubicBezTo>
                    <a:pt x="18104" y="2610"/>
                    <a:pt x="18252" y="2441"/>
                    <a:pt x="18548" y="2377"/>
                  </a:cubicBezTo>
                  <a:cubicBezTo>
                    <a:pt x="18608" y="2364"/>
                    <a:pt x="18669" y="2357"/>
                    <a:pt x="18730" y="2357"/>
                  </a:cubicBezTo>
                  <a:close/>
                  <a:moveTo>
                    <a:pt x="13218" y="23294"/>
                  </a:moveTo>
                  <a:cubicBezTo>
                    <a:pt x="13451" y="23315"/>
                    <a:pt x="13684" y="23336"/>
                    <a:pt x="13895" y="23336"/>
                  </a:cubicBezTo>
                  <a:lnTo>
                    <a:pt x="13980" y="23865"/>
                  </a:lnTo>
                  <a:cubicBezTo>
                    <a:pt x="13726" y="23781"/>
                    <a:pt x="13472" y="23717"/>
                    <a:pt x="13218" y="23696"/>
                  </a:cubicBezTo>
                  <a:lnTo>
                    <a:pt x="13218" y="23294"/>
                  </a:lnTo>
                  <a:close/>
                  <a:moveTo>
                    <a:pt x="22295" y="0"/>
                  </a:moveTo>
                  <a:cubicBezTo>
                    <a:pt x="22127" y="0"/>
                    <a:pt x="21956" y="17"/>
                    <a:pt x="21784" y="51"/>
                  </a:cubicBezTo>
                  <a:cubicBezTo>
                    <a:pt x="21065" y="157"/>
                    <a:pt x="20388" y="516"/>
                    <a:pt x="19902" y="1066"/>
                  </a:cubicBezTo>
                  <a:cubicBezTo>
                    <a:pt x="19538" y="869"/>
                    <a:pt x="19131" y="759"/>
                    <a:pt x="18727" y="759"/>
                  </a:cubicBezTo>
                  <a:cubicBezTo>
                    <a:pt x="18567" y="759"/>
                    <a:pt x="18408" y="776"/>
                    <a:pt x="18252" y="812"/>
                  </a:cubicBezTo>
                  <a:cubicBezTo>
                    <a:pt x="17596" y="918"/>
                    <a:pt x="17025" y="1341"/>
                    <a:pt x="16750" y="1954"/>
                  </a:cubicBezTo>
                  <a:cubicBezTo>
                    <a:pt x="16306" y="1954"/>
                    <a:pt x="15862" y="2145"/>
                    <a:pt x="15545" y="2462"/>
                  </a:cubicBezTo>
                  <a:cubicBezTo>
                    <a:pt x="15037" y="2948"/>
                    <a:pt x="14720" y="3625"/>
                    <a:pt x="14657" y="4344"/>
                  </a:cubicBezTo>
                  <a:cubicBezTo>
                    <a:pt x="13070" y="5529"/>
                    <a:pt x="11653" y="6946"/>
                    <a:pt x="10511" y="8553"/>
                  </a:cubicBezTo>
                  <a:lnTo>
                    <a:pt x="10469" y="8638"/>
                  </a:lnTo>
                  <a:cubicBezTo>
                    <a:pt x="10321" y="8849"/>
                    <a:pt x="10236" y="9103"/>
                    <a:pt x="10194" y="9357"/>
                  </a:cubicBezTo>
                  <a:lnTo>
                    <a:pt x="10004" y="9568"/>
                  </a:lnTo>
                  <a:cubicBezTo>
                    <a:pt x="9792" y="9526"/>
                    <a:pt x="9581" y="9505"/>
                    <a:pt x="9369" y="9505"/>
                  </a:cubicBezTo>
                  <a:cubicBezTo>
                    <a:pt x="9311" y="9499"/>
                    <a:pt x="9252" y="9497"/>
                    <a:pt x="9194" y="9497"/>
                  </a:cubicBezTo>
                  <a:cubicBezTo>
                    <a:pt x="8793" y="9497"/>
                    <a:pt x="8412" y="9624"/>
                    <a:pt x="8079" y="9864"/>
                  </a:cubicBezTo>
                  <a:lnTo>
                    <a:pt x="7952" y="9822"/>
                  </a:lnTo>
                  <a:cubicBezTo>
                    <a:pt x="9052" y="6607"/>
                    <a:pt x="8587" y="5867"/>
                    <a:pt x="8417" y="5571"/>
                  </a:cubicBezTo>
                  <a:cubicBezTo>
                    <a:pt x="8206" y="5254"/>
                    <a:pt x="7868" y="5042"/>
                    <a:pt x="7487" y="5021"/>
                  </a:cubicBezTo>
                  <a:cubicBezTo>
                    <a:pt x="7416" y="5010"/>
                    <a:pt x="7345" y="5005"/>
                    <a:pt x="7275" y="5005"/>
                  </a:cubicBezTo>
                  <a:cubicBezTo>
                    <a:pt x="7073" y="5005"/>
                    <a:pt x="6877" y="5048"/>
                    <a:pt x="6704" y="5127"/>
                  </a:cubicBezTo>
                  <a:cubicBezTo>
                    <a:pt x="6641" y="5000"/>
                    <a:pt x="6556" y="4894"/>
                    <a:pt x="6472" y="4788"/>
                  </a:cubicBezTo>
                  <a:cubicBezTo>
                    <a:pt x="6218" y="4535"/>
                    <a:pt x="5901" y="4387"/>
                    <a:pt x="5562" y="4387"/>
                  </a:cubicBezTo>
                  <a:cubicBezTo>
                    <a:pt x="5538" y="4385"/>
                    <a:pt x="5514" y="4385"/>
                    <a:pt x="5491" y="4385"/>
                  </a:cubicBezTo>
                  <a:cubicBezTo>
                    <a:pt x="5139" y="4385"/>
                    <a:pt x="4826" y="4530"/>
                    <a:pt x="4568" y="4767"/>
                  </a:cubicBezTo>
                  <a:cubicBezTo>
                    <a:pt x="4526" y="4704"/>
                    <a:pt x="4463" y="4662"/>
                    <a:pt x="4399" y="4619"/>
                  </a:cubicBezTo>
                  <a:cubicBezTo>
                    <a:pt x="4188" y="4453"/>
                    <a:pt x="3934" y="4363"/>
                    <a:pt x="3667" y="4363"/>
                  </a:cubicBezTo>
                  <a:cubicBezTo>
                    <a:pt x="3560" y="4363"/>
                    <a:pt x="3451" y="4377"/>
                    <a:pt x="3342" y="4408"/>
                  </a:cubicBezTo>
                  <a:cubicBezTo>
                    <a:pt x="2982" y="4513"/>
                    <a:pt x="2665" y="4746"/>
                    <a:pt x="2475" y="5085"/>
                  </a:cubicBezTo>
                  <a:cubicBezTo>
                    <a:pt x="2275" y="4951"/>
                    <a:pt x="2049" y="4887"/>
                    <a:pt x="1825" y="4887"/>
                  </a:cubicBezTo>
                  <a:cubicBezTo>
                    <a:pt x="1551" y="4887"/>
                    <a:pt x="1278" y="4983"/>
                    <a:pt x="1057" y="5169"/>
                  </a:cubicBezTo>
                  <a:cubicBezTo>
                    <a:pt x="0" y="6036"/>
                    <a:pt x="508" y="9209"/>
                    <a:pt x="613" y="9822"/>
                  </a:cubicBezTo>
                  <a:cubicBezTo>
                    <a:pt x="825" y="11091"/>
                    <a:pt x="1544" y="13967"/>
                    <a:pt x="3405" y="14940"/>
                  </a:cubicBezTo>
                  <a:cubicBezTo>
                    <a:pt x="3722" y="15955"/>
                    <a:pt x="4145" y="16949"/>
                    <a:pt x="4653" y="17901"/>
                  </a:cubicBezTo>
                  <a:cubicBezTo>
                    <a:pt x="5816" y="19995"/>
                    <a:pt x="7677" y="21644"/>
                    <a:pt x="9940" y="22512"/>
                  </a:cubicBezTo>
                  <a:lnTo>
                    <a:pt x="10448" y="25198"/>
                  </a:lnTo>
                  <a:cubicBezTo>
                    <a:pt x="10511" y="25515"/>
                    <a:pt x="10680" y="25811"/>
                    <a:pt x="10934" y="26022"/>
                  </a:cubicBezTo>
                  <a:cubicBezTo>
                    <a:pt x="11759" y="26699"/>
                    <a:pt x="12351" y="27016"/>
                    <a:pt x="12838" y="27016"/>
                  </a:cubicBezTo>
                  <a:cubicBezTo>
                    <a:pt x="13049" y="27016"/>
                    <a:pt x="13261" y="26953"/>
                    <a:pt x="13430" y="26826"/>
                  </a:cubicBezTo>
                  <a:cubicBezTo>
                    <a:pt x="13515" y="26784"/>
                    <a:pt x="13599" y="26699"/>
                    <a:pt x="13663" y="26636"/>
                  </a:cubicBezTo>
                  <a:cubicBezTo>
                    <a:pt x="13793" y="26657"/>
                    <a:pt x="13908" y="26667"/>
                    <a:pt x="14010" y="26667"/>
                  </a:cubicBezTo>
                  <a:cubicBezTo>
                    <a:pt x="14404" y="26667"/>
                    <a:pt x="14598" y="26529"/>
                    <a:pt x="14699" y="26445"/>
                  </a:cubicBezTo>
                  <a:cubicBezTo>
                    <a:pt x="14889" y="26318"/>
                    <a:pt x="15037" y="26107"/>
                    <a:pt x="15080" y="25874"/>
                  </a:cubicBezTo>
                  <a:cubicBezTo>
                    <a:pt x="15479" y="26170"/>
                    <a:pt x="15889" y="26383"/>
                    <a:pt x="16280" y="26383"/>
                  </a:cubicBezTo>
                  <a:cubicBezTo>
                    <a:pt x="16448" y="26383"/>
                    <a:pt x="16613" y="26344"/>
                    <a:pt x="16772" y="26255"/>
                  </a:cubicBezTo>
                  <a:cubicBezTo>
                    <a:pt x="16856" y="26213"/>
                    <a:pt x="16920" y="26149"/>
                    <a:pt x="16983" y="26107"/>
                  </a:cubicBezTo>
                  <a:cubicBezTo>
                    <a:pt x="17086" y="26134"/>
                    <a:pt x="17191" y="26148"/>
                    <a:pt x="17296" y="26148"/>
                  </a:cubicBezTo>
                  <a:cubicBezTo>
                    <a:pt x="17513" y="26148"/>
                    <a:pt x="17728" y="26087"/>
                    <a:pt x="17914" y="25959"/>
                  </a:cubicBezTo>
                  <a:cubicBezTo>
                    <a:pt x="18210" y="25790"/>
                    <a:pt x="18358" y="25472"/>
                    <a:pt x="18337" y="25134"/>
                  </a:cubicBezTo>
                  <a:cubicBezTo>
                    <a:pt x="18337" y="25049"/>
                    <a:pt x="18315" y="24986"/>
                    <a:pt x="18294" y="24923"/>
                  </a:cubicBezTo>
                  <a:cubicBezTo>
                    <a:pt x="18337" y="24817"/>
                    <a:pt x="18358" y="24732"/>
                    <a:pt x="18358" y="24626"/>
                  </a:cubicBezTo>
                  <a:cubicBezTo>
                    <a:pt x="18421" y="23971"/>
                    <a:pt x="17914" y="23569"/>
                    <a:pt x="16793" y="23294"/>
                  </a:cubicBezTo>
                  <a:lnTo>
                    <a:pt x="16814" y="23040"/>
                  </a:lnTo>
                  <a:cubicBezTo>
                    <a:pt x="18506" y="22596"/>
                    <a:pt x="20071" y="21708"/>
                    <a:pt x="21298" y="20460"/>
                  </a:cubicBezTo>
                  <a:cubicBezTo>
                    <a:pt x="22989" y="20291"/>
                    <a:pt x="24089" y="19107"/>
                    <a:pt x="24195" y="17224"/>
                  </a:cubicBezTo>
                  <a:cubicBezTo>
                    <a:pt x="24216" y="16865"/>
                    <a:pt x="24195" y="16505"/>
                    <a:pt x="24132" y="16167"/>
                  </a:cubicBezTo>
                  <a:cubicBezTo>
                    <a:pt x="24829" y="15490"/>
                    <a:pt x="25231" y="14221"/>
                    <a:pt x="25422" y="13438"/>
                  </a:cubicBezTo>
                  <a:cubicBezTo>
                    <a:pt x="26225" y="13142"/>
                    <a:pt x="27473" y="12508"/>
                    <a:pt x="27177" y="11514"/>
                  </a:cubicBezTo>
                  <a:cubicBezTo>
                    <a:pt x="27050" y="11091"/>
                    <a:pt x="26648" y="10753"/>
                    <a:pt x="25760" y="10393"/>
                  </a:cubicBezTo>
                  <a:cubicBezTo>
                    <a:pt x="25718" y="8193"/>
                    <a:pt x="25041" y="6311"/>
                    <a:pt x="23793" y="4958"/>
                  </a:cubicBezTo>
                  <a:cubicBezTo>
                    <a:pt x="24110" y="4746"/>
                    <a:pt x="24385" y="4492"/>
                    <a:pt x="24576" y="4175"/>
                  </a:cubicBezTo>
                  <a:cubicBezTo>
                    <a:pt x="24956" y="3519"/>
                    <a:pt x="25041" y="2716"/>
                    <a:pt x="24808" y="1997"/>
                  </a:cubicBezTo>
                  <a:cubicBezTo>
                    <a:pt x="24531" y="812"/>
                    <a:pt x="23476" y="0"/>
                    <a:pt x="2229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" name="Google Shape;235;p3"/>
            <p:cNvSpPr/>
            <p:nvPr/>
          </p:nvSpPr>
          <p:spPr>
            <a:xfrm rot="360229" flipH="1">
              <a:off x="7420959" y="4340874"/>
              <a:ext cx="383085" cy="500390"/>
            </a:xfrm>
            <a:custGeom>
              <a:avLst/>
              <a:gdLst/>
              <a:ahLst/>
              <a:cxnLst/>
              <a:rect l="l" t="t" r="r" b="b"/>
              <a:pathLst>
                <a:path w="4210" h="5499" extrusionOk="0">
                  <a:moveTo>
                    <a:pt x="1" y="1"/>
                  </a:moveTo>
                  <a:lnTo>
                    <a:pt x="825" y="4336"/>
                  </a:lnTo>
                  <a:cubicBezTo>
                    <a:pt x="847" y="4463"/>
                    <a:pt x="931" y="4611"/>
                    <a:pt x="1037" y="4696"/>
                  </a:cubicBezTo>
                  <a:cubicBezTo>
                    <a:pt x="1366" y="4971"/>
                    <a:pt x="2044" y="5499"/>
                    <a:pt x="2426" y="5499"/>
                  </a:cubicBezTo>
                  <a:cubicBezTo>
                    <a:pt x="2486" y="5499"/>
                    <a:pt x="2538" y="5486"/>
                    <a:pt x="2581" y="5457"/>
                  </a:cubicBezTo>
                  <a:cubicBezTo>
                    <a:pt x="2983" y="5204"/>
                    <a:pt x="1883" y="4548"/>
                    <a:pt x="1883" y="4548"/>
                  </a:cubicBezTo>
                  <a:lnTo>
                    <a:pt x="1883" y="4548"/>
                  </a:lnTo>
                  <a:cubicBezTo>
                    <a:pt x="1883" y="4548"/>
                    <a:pt x="3010" y="5174"/>
                    <a:pt x="3580" y="5174"/>
                  </a:cubicBezTo>
                  <a:cubicBezTo>
                    <a:pt x="3673" y="5174"/>
                    <a:pt x="3751" y="5157"/>
                    <a:pt x="3807" y="5119"/>
                  </a:cubicBezTo>
                  <a:cubicBezTo>
                    <a:pt x="4209" y="4823"/>
                    <a:pt x="2349" y="4146"/>
                    <a:pt x="2348" y="4146"/>
                  </a:cubicBezTo>
                  <a:lnTo>
                    <a:pt x="2348" y="4146"/>
                  </a:lnTo>
                  <a:cubicBezTo>
                    <a:pt x="2348" y="4146"/>
                    <a:pt x="3156" y="4396"/>
                    <a:pt x="3595" y="4396"/>
                  </a:cubicBezTo>
                  <a:cubicBezTo>
                    <a:pt x="3754" y="4396"/>
                    <a:pt x="3865" y="4363"/>
                    <a:pt x="3871" y="4273"/>
                  </a:cubicBezTo>
                  <a:cubicBezTo>
                    <a:pt x="3871" y="3850"/>
                    <a:pt x="2010" y="3681"/>
                    <a:pt x="2010" y="3681"/>
                  </a:cubicBezTo>
                  <a:lnTo>
                    <a:pt x="2010" y="4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EEC05A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" name="Google Shape;236;p3"/>
            <p:cNvSpPr/>
            <p:nvPr/>
          </p:nvSpPr>
          <p:spPr>
            <a:xfrm rot="360229" flipH="1">
              <a:off x="7133479" y="4301395"/>
              <a:ext cx="319480" cy="450615"/>
            </a:xfrm>
            <a:custGeom>
              <a:avLst/>
              <a:gdLst/>
              <a:ahLst/>
              <a:cxnLst/>
              <a:rect l="l" t="t" r="r" b="b"/>
              <a:pathLst>
                <a:path w="3511" h="4952" extrusionOk="0">
                  <a:moveTo>
                    <a:pt x="0" y="0"/>
                  </a:moveTo>
                  <a:lnTo>
                    <a:pt x="550" y="3828"/>
                  </a:lnTo>
                  <a:cubicBezTo>
                    <a:pt x="571" y="3976"/>
                    <a:pt x="635" y="4103"/>
                    <a:pt x="740" y="4188"/>
                  </a:cubicBezTo>
                  <a:cubicBezTo>
                    <a:pt x="1023" y="4452"/>
                    <a:pt x="1609" y="4952"/>
                    <a:pt x="1942" y="4952"/>
                  </a:cubicBezTo>
                  <a:cubicBezTo>
                    <a:pt x="1983" y="4952"/>
                    <a:pt x="2020" y="4944"/>
                    <a:pt x="2052" y="4928"/>
                  </a:cubicBezTo>
                  <a:cubicBezTo>
                    <a:pt x="2432" y="4696"/>
                    <a:pt x="1482" y="4083"/>
                    <a:pt x="1481" y="4082"/>
                  </a:cubicBezTo>
                  <a:lnTo>
                    <a:pt x="1481" y="4082"/>
                  </a:lnTo>
                  <a:cubicBezTo>
                    <a:pt x="1482" y="4083"/>
                    <a:pt x="2450" y="4702"/>
                    <a:pt x="2956" y="4702"/>
                  </a:cubicBezTo>
                  <a:cubicBezTo>
                    <a:pt x="3034" y="4702"/>
                    <a:pt x="3101" y="4687"/>
                    <a:pt x="3151" y="4653"/>
                  </a:cubicBezTo>
                  <a:cubicBezTo>
                    <a:pt x="3511" y="4421"/>
                    <a:pt x="1904" y="3744"/>
                    <a:pt x="1904" y="3744"/>
                  </a:cubicBezTo>
                  <a:lnTo>
                    <a:pt x="1904" y="3744"/>
                  </a:lnTo>
                  <a:cubicBezTo>
                    <a:pt x="1904" y="3744"/>
                    <a:pt x="2674" y="4030"/>
                    <a:pt x="3044" y="4030"/>
                  </a:cubicBezTo>
                  <a:cubicBezTo>
                    <a:pt x="3156" y="4030"/>
                    <a:pt x="3231" y="4003"/>
                    <a:pt x="3236" y="3934"/>
                  </a:cubicBezTo>
                  <a:cubicBezTo>
                    <a:pt x="3257" y="3553"/>
                    <a:pt x="1629" y="3321"/>
                    <a:pt x="1629" y="3321"/>
                  </a:cubicBezTo>
                  <a:lnTo>
                    <a:pt x="1777" y="4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C05A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" name="Google Shape;237;p3"/>
            <p:cNvSpPr/>
            <p:nvPr/>
          </p:nvSpPr>
          <p:spPr>
            <a:xfrm rot="360229" flipH="1">
              <a:off x="8081916" y="3008062"/>
              <a:ext cx="738872" cy="846541"/>
            </a:xfrm>
            <a:custGeom>
              <a:avLst/>
              <a:gdLst/>
              <a:ahLst/>
              <a:cxnLst/>
              <a:rect l="l" t="t" r="r" b="b"/>
              <a:pathLst>
                <a:path w="8120" h="9303" extrusionOk="0">
                  <a:moveTo>
                    <a:pt x="3066" y="0"/>
                  </a:moveTo>
                  <a:cubicBezTo>
                    <a:pt x="3025" y="0"/>
                    <a:pt x="2983" y="6"/>
                    <a:pt x="2938" y="18"/>
                  </a:cubicBezTo>
                  <a:cubicBezTo>
                    <a:pt x="2008" y="251"/>
                    <a:pt x="2198" y="2831"/>
                    <a:pt x="2198" y="2831"/>
                  </a:cubicBezTo>
                  <a:cubicBezTo>
                    <a:pt x="2198" y="2831"/>
                    <a:pt x="1948" y="512"/>
                    <a:pt x="1240" y="512"/>
                  </a:cubicBezTo>
                  <a:cubicBezTo>
                    <a:pt x="1151" y="512"/>
                    <a:pt x="1054" y="549"/>
                    <a:pt x="950" y="632"/>
                  </a:cubicBezTo>
                  <a:cubicBezTo>
                    <a:pt x="1" y="1370"/>
                    <a:pt x="777" y="9303"/>
                    <a:pt x="4075" y="9303"/>
                  </a:cubicBezTo>
                  <a:cubicBezTo>
                    <a:pt x="4084" y="9303"/>
                    <a:pt x="4093" y="9303"/>
                    <a:pt x="4101" y="9303"/>
                  </a:cubicBezTo>
                  <a:cubicBezTo>
                    <a:pt x="7401" y="9261"/>
                    <a:pt x="6132" y="5665"/>
                    <a:pt x="6132" y="5665"/>
                  </a:cubicBezTo>
                  <a:cubicBezTo>
                    <a:pt x="6132" y="5665"/>
                    <a:pt x="8120" y="758"/>
                    <a:pt x="6808" y="632"/>
                  </a:cubicBezTo>
                  <a:cubicBezTo>
                    <a:pt x="6775" y="628"/>
                    <a:pt x="6743" y="627"/>
                    <a:pt x="6712" y="627"/>
                  </a:cubicBezTo>
                  <a:cubicBezTo>
                    <a:pt x="5983" y="627"/>
                    <a:pt x="5669" y="1462"/>
                    <a:pt x="5534" y="2132"/>
                  </a:cubicBezTo>
                  <a:lnTo>
                    <a:pt x="5534" y="2132"/>
                  </a:lnTo>
                  <a:cubicBezTo>
                    <a:pt x="5605" y="1263"/>
                    <a:pt x="5594" y="18"/>
                    <a:pt x="4947" y="18"/>
                  </a:cubicBezTo>
                  <a:cubicBezTo>
                    <a:pt x="3932" y="18"/>
                    <a:pt x="3932" y="2281"/>
                    <a:pt x="3932" y="2281"/>
                  </a:cubicBezTo>
                  <a:cubicBezTo>
                    <a:pt x="3932" y="2281"/>
                    <a:pt x="3875" y="0"/>
                    <a:pt x="3066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" name="Google Shape;238;p3"/>
            <p:cNvSpPr/>
            <p:nvPr/>
          </p:nvSpPr>
          <p:spPr>
            <a:xfrm rot="360229" flipH="1">
              <a:off x="6683596" y="3461585"/>
              <a:ext cx="705022" cy="721785"/>
            </a:xfrm>
            <a:custGeom>
              <a:avLst/>
              <a:gdLst/>
              <a:ahLst/>
              <a:cxnLst/>
              <a:rect l="l" t="t" r="r" b="b"/>
              <a:pathLst>
                <a:path w="7748" h="7932" extrusionOk="0">
                  <a:moveTo>
                    <a:pt x="2183" y="0"/>
                  </a:moveTo>
                  <a:cubicBezTo>
                    <a:pt x="2021" y="0"/>
                    <a:pt x="1871" y="17"/>
                    <a:pt x="1735" y="51"/>
                  </a:cubicBezTo>
                  <a:cubicBezTo>
                    <a:pt x="1" y="495"/>
                    <a:pt x="2073" y="2547"/>
                    <a:pt x="2073" y="2547"/>
                  </a:cubicBezTo>
                  <a:cubicBezTo>
                    <a:pt x="2073" y="2547"/>
                    <a:pt x="720" y="2885"/>
                    <a:pt x="762" y="3689"/>
                  </a:cubicBezTo>
                  <a:cubicBezTo>
                    <a:pt x="804" y="4492"/>
                    <a:pt x="2856" y="5127"/>
                    <a:pt x="2856" y="5127"/>
                  </a:cubicBezTo>
                  <a:cubicBezTo>
                    <a:pt x="2856" y="5127"/>
                    <a:pt x="2673" y="5093"/>
                    <a:pt x="2436" y="5093"/>
                  </a:cubicBezTo>
                  <a:cubicBezTo>
                    <a:pt x="1998" y="5093"/>
                    <a:pt x="1376" y="5209"/>
                    <a:pt x="1376" y="5867"/>
                  </a:cubicBezTo>
                  <a:cubicBezTo>
                    <a:pt x="1376" y="6861"/>
                    <a:pt x="2793" y="7453"/>
                    <a:pt x="4125" y="7834"/>
                  </a:cubicBezTo>
                  <a:cubicBezTo>
                    <a:pt x="4125" y="7834"/>
                    <a:pt x="4500" y="7932"/>
                    <a:pt x="5003" y="7932"/>
                  </a:cubicBezTo>
                  <a:cubicBezTo>
                    <a:pt x="5978" y="7932"/>
                    <a:pt x="7433" y="7564"/>
                    <a:pt x="7572" y="5402"/>
                  </a:cubicBezTo>
                  <a:cubicBezTo>
                    <a:pt x="7748" y="2377"/>
                    <a:pt x="4124" y="0"/>
                    <a:pt x="2183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" name="Google Shape;239;p3"/>
            <p:cNvSpPr/>
            <p:nvPr/>
          </p:nvSpPr>
          <p:spPr>
            <a:xfrm rot="360229" flipH="1">
              <a:off x="6529403" y="2850210"/>
              <a:ext cx="2061563" cy="1647584"/>
            </a:xfrm>
            <a:custGeom>
              <a:avLst/>
              <a:gdLst/>
              <a:ahLst/>
              <a:cxnLst/>
              <a:rect l="l" t="t" r="r" b="b"/>
              <a:pathLst>
                <a:path w="22656" h="18106" extrusionOk="0">
                  <a:moveTo>
                    <a:pt x="15759" y="1"/>
                  </a:moveTo>
                  <a:cubicBezTo>
                    <a:pt x="11711" y="1"/>
                    <a:pt x="6900" y="6792"/>
                    <a:pt x="6900" y="6792"/>
                  </a:cubicBezTo>
                  <a:cubicBezTo>
                    <a:pt x="5601" y="6252"/>
                    <a:pt x="4454" y="5976"/>
                    <a:pt x="3527" y="5976"/>
                  </a:cubicBezTo>
                  <a:cubicBezTo>
                    <a:pt x="858" y="5976"/>
                    <a:pt x="1" y="8256"/>
                    <a:pt x="2543" y="13073"/>
                  </a:cubicBezTo>
                  <a:cubicBezTo>
                    <a:pt x="4198" y="16197"/>
                    <a:pt x="7802" y="18106"/>
                    <a:pt x="11397" y="18106"/>
                  </a:cubicBezTo>
                  <a:cubicBezTo>
                    <a:pt x="15105" y="18106"/>
                    <a:pt x="18804" y="16076"/>
                    <a:pt x="20351" y="11254"/>
                  </a:cubicBezTo>
                  <a:cubicBezTo>
                    <a:pt x="22656" y="4064"/>
                    <a:pt x="18828" y="320"/>
                    <a:pt x="16163" y="24"/>
                  </a:cubicBezTo>
                  <a:cubicBezTo>
                    <a:pt x="16029" y="8"/>
                    <a:pt x="15894" y="1"/>
                    <a:pt x="15759" y="1"/>
                  </a:cubicBezTo>
                  <a:close/>
                </a:path>
              </a:pathLst>
            </a:custGeom>
            <a:solidFill>
              <a:srgbClr val="D9D8B3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0" name="Google Shape;240;p3"/>
            <p:cNvSpPr/>
            <p:nvPr/>
          </p:nvSpPr>
          <p:spPr>
            <a:xfrm rot="360229" flipH="1">
              <a:off x="6390846" y="2724764"/>
              <a:ext cx="1522422" cy="1118894"/>
            </a:xfrm>
            <a:custGeom>
              <a:avLst/>
              <a:gdLst/>
              <a:ahLst/>
              <a:cxnLst/>
              <a:rect l="l" t="t" r="r" b="b"/>
              <a:pathLst>
                <a:path w="16731" h="12296" extrusionOk="0">
                  <a:moveTo>
                    <a:pt x="8270" y="1"/>
                  </a:moveTo>
                  <a:cubicBezTo>
                    <a:pt x="4252" y="1"/>
                    <a:pt x="467" y="5436"/>
                    <a:pt x="467" y="5436"/>
                  </a:cubicBezTo>
                  <a:cubicBezTo>
                    <a:pt x="0" y="6304"/>
                    <a:pt x="535" y="6515"/>
                    <a:pt x="1167" y="6515"/>
                  </a:cubicBezTo>
                  <a:cubicBezTo>
                    <a:pt x="1767" y="6515"/>
                    <a:pt x="2455" y="6324"/>
                    <a:pt x="2455" y="6324"/>
                  </a:cubicBezTo>
                  <a:lnTo>
                    <a:pt x="2455" y="6324"/>
                  </a:lnTo>
                  <a:cubicBezTo>
                    <a:pt x="2455" y="6325"/>
                    <a:pt x="1165" y="8376"/>
                    <a:pt x="2603" y="8799"/>
                  </a:cubicBezTo>
                  <a:cubicBezTo>
                    <a:pt x="2738" y="8838"/>
                    <a:pt x="2866" y="8856"/>
                    <a:pt x="2988" y="8856"/>
                  </a:cubicBezTo>
                  <a:cubicBezTo>
                    <a:pt x="4178" y="8856"/>
                    <a:pt x="4718" y="7150"/>
                    <a:pt x="4718" y="7149"/>
                  </a:cubicBezTo>
                  <a:lnTo>
                    <a:pt x="4718" y="7149"/>
                  </a:lnTo>
                  <a:cubicBezTo>
                    <a:pt x="4718" y="7150"/>
                    <a:pt x="4083" y="10089"/>
                    <a:pt x="5437" y="10470"/>
                  </a:cubicBezTo>
                  <a:cubicBezTo>
                    <a:pt x="5535" y="10499"/>
                    <a:pt x="5630" y="10513"/>
                    <a:pt x="5723" y="10513"/>
                  </a:cubicBezTo>
                  <a:cubicBezTo>
                    <a:pt x="6898" y="10513"/>
                    <a:pt x="7679" y="8334"/>
                    <a:pt x="7679" y="8334"/>
                  </a:cubicBezTo>
                  <a:lnTo>
                    <a:pt x="7679" y="8334"/>
                  </a:lnTo>
                  <a:cubicBezTo>
                    <a:pt x="7679" y="8334"/>
                    <a:pt x="7171" y="11020"/>
                    <a:pt x="8482" y="11189"/>
                  </a:cubicBezTo>
                  <a:cubicBezTo>
                    <a:pt x="8526" y="11194"/>
                    <a:pt x="8569" y="11197"/>
                    <a:pt x="8612" y="11197"/>
                  </a:cubicBezTo>
                  <a:cubicBezTo>
                    <a:pt x="9841" y="11197"/>
                    <a:pt x="10217" y="8883"/>
                    <a:pt x="10217" y="8883"/>
                  </a:cubicBezTo>
                  <a:cubicBezTo>
                    <a:pt x="10217" y="8883"/>
                    <a:pt x="10337" y="12296"/>
                    <a:pt x="12318" y="12296"/>
                  </a:cubicBezTo>
                  <a:cubicBezTo>
                    <a:pt x="12371" y="12296"/>
                    <a:pt x="12425" y="12293"/>
                    <a:pt x="12480" y="12289"/>
                  </a:cubicBezTo>
                  <a:cubicBezTo>
                    <a:pt x="14066" y="12140"/>
                    <a:pt x="16731" y="1989"/>
                    <a:pt x="9307" y="128"/>
                  </a:cubicBezTo>
                  <a:cubicBezTo>
                    <a:pt x="8961" y="41"/>
                    <a:pt x="8615" y="1"/>
                    <a:pt x="8270" y="1"/>
                  </a:cubicBezTo>
                  <a:close/>
                </a:path>
              </a:pathLst>
            </a:custGeom>
            <a:solidFill>
              <a:srgbClr val="EDECC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1" name="Google Shape;241;p3"/>
            <p:cNvSpPr/>
            <p:nvPr/>
          </p:nvSpPr>
          <p:spPr>
            <a:xfrm rot="360229" flipH="1">
              <a:off x="7296407" y="3403258"/>
              <a:ext cx="893016" cy="760368"/>
            </a:xfrm>
            <a:custGeom>
              <a:avLst/>
              <a:gdLst/>
              <a:ahLst/>
              <a:cxnLst/>
              <a:rect l="l" t="t" r="r" b="b"/>
              <a:pathLst>
                <a:path w="9814" h="8356" extrusionOk="0">
                  <a:moveTo>
                    <a:pt x="2263" y="0"/>
                  </a:moveTo>
                  <a:cubicBezTo>
                    <a:pt x="0" y="0"/>
                    <a:pt x="2517" y="2433"/>
                    <a:pt x="2517" y="2433"/>
                  </a:cubicBezTo>
                  <a:cubicBezTo>
                    <a:pt x="2517" y="2433"/>
                    <a:pt x="762" y="2433"/>
                    <a:pt x="762" y="3194"/>
                  </a:cubicBezTo>
                  <a:cubicBezTo>
                    <a:pt x="762" y="3934"/>
                    <a:pt x="3321" y="5055"/>
                    <a:pt x="3321" y="5055"/>
                  </a:cubicBezTo>
                  <a:cubicBezTo>
                    <a:pt x="3321" y="5055"/>
                    <a:pt x="2724" y="4861"/>
                    <a:pt x="2195" y="4861"/>
                  </a:cubicBezTo>
                  <a:cubicBezTo>
                    <a:pt x="1784" y="4861"/>
                    <a:pt x="1415" y="4978"/>
                    <a:pt x="1396" y="5393"/>
                  </a:cubicBezTo>
                  <a:cubicBezTo>
                    <a:pt x="1333" y="6324"/>
                    <a:pt x="3067" y="7212"/>
                    <a:pt x="4759" y="7931"/>
                  </a:cubicBezTo>
                  <a:cubicBezTo>
                    <a:pt x="4759" y="7931"/>
                    <a:pt x="5830" y="8355"/>
                    <a:pt x="6937" y="8355"/>
                  </a:cubicBezTo>
                  <a:cubicBezTo>
                    <a:pt x="7987" y="8355"/>
                    <a:pt x="9069" y="7975"/>
                    <a:pt x="9306" y="6493"/>
                  </a:cubicBezTo>
                  <a:cubicBezTo>
                    <a:pt x="9814" y="3469"/>
                    <a:pt x="4526" y="0"/>
                    <a:pt x="2263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2" name="Google Shape;242;p3"/>
            <p:cNvSpPr/>
            <p:nvPr/>
          </p:nvSpPr>
          <p:spPr>
            <a:xfrm rot="360229" flipH="1">
              <a:off x="6454358" y="3314031"/>
              <a:ext cx="292910" cy="212841"/>
            </a:xfrm>
            <a:custGeom>
              <a:avLst/>
              <a:gdLst/>
              <a:ahLst/>
              <a:cxnLst/>
              <a:rect l="l" t="t" r="r" b="b"/>
              <a:pathLst>
                <a:path w="3219" h="2339" extrusionOk="0">
                  <a:moveTo>
                    <a:pt x="629" y="1"/>
                  </a:moveTo>
                  <a:cubicBezTo>
                    <a:pt x="0" y="1"/>
                    <a:pt x="78" y="1164"/>
                    <a:pt x="173" y="1867"/>
                  </a:cubicBezTo>
                  <a:cubicBezTo>
                    <a:pt x="211" y="2155"/>
                    <a:pt x="458" y="2338"/>
                    <a:pt x="741" y="2338"/>
                  </a:cubicBezTo>
                  <a:cubicBezTo>
                    <a:pt x="770" y="2338"/>
                    <a:pt x="799" y="2336"/>
                    <a:pt x="829" y="2332"/>
                  </a:cubicBezTo>
                  <a:cubicBezTo>
                    <a:pt x="1886" y="2163"/>
                    <a:pt x="3218" y="1486"/>
                    <a:pt x="3113" y="1106"/>
                  </a:cubicBezTo>
                  <a:cubicBezTo>
                    <a:pt x="2965" y="619"/>
                    <a:pt x="871" y="48"/>
                    <a:pt x="871" y="48"/>
                  </a:cubicBezTo>
                  <a:cubicBezTo>
                    <a:pt x="780" y="16"/>
                    <a:pt x="700" y="1"/>
                    <a:pt x="629" y="1"/>
                  </a:cubicBezTo>
                  <a:close/>
                </a:path>
              </a:pathLst>
            </a:custGeom>
            <a:solidFill>
              <a:srgbClr val="EEC05A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3" name="Google Shape;243;p3"/>
            <p:cNvSpPr/>
            <p:nvPr/>
          </p:nvSpPr>
          <p:spPr>
            <a:xfrm rot="360229" flipH="1">
              <a:off x="6843108" y="2890294"/>
              <a:ext cx="546602" cy="489471"/>
            </a:xfrm>
            <a:custGeom>
              <a:avLst/>
              <a:gdLst/>
              <a:ahLst/>
              <a:cxnLst/>
              <a:rect l="l" t="t" r="r" b="b"/>
              <a:pathLst>
                <a:path w="6007" h="5379" extrusionOk="0">
                  <a:moveTo>
                    <a:pt x="3000" y="1"/>
                  </a:moveTo>
                  <a:cubicBezTo>
                    <a:pt x="2230" y="1"/>
                    <a:pt x="1462" y="329"/>
                    <a:pt x="931" y="966"/>
                  </a:cubicBezTo>
                  <a:cubicBezTo>
                    <a:pt x="0" y="2108"/>
                    <a:pt x="148" y="3800"/>
                    <a:pt x="1290" y="4751"/>
                  </a:cubicBezTo>
                  <a:cubicBezTo>
                    <a:pt x="1786" y="5172"/>
                    <a:pt x="2393" y="5378"/>
                    <a:pt x="2999" y="5378"/>
                  </a:cubicBezTo>
                  <a:cubicBezTo>
                    <a:pt x="3763" y="5378"/>
                    <a:pt x="4524" y="5050"/>
                    <a:pt x="5055" y="4413"/>
                  </a:cubicBezTo>
                  <a:cubicBezTo>
                    <a:pt x="6007" y="3271"/>
                    <a:pt x="5859" y="1579"/>
                    <a:pt x="4717" y="627"/>
                  </a:cubicBezTo>
                  <a:cubicBezTo>
                    <a:pt x="4221" y="207"/>
                    <a:pt x="3610" y="1"/>
                    <a:pt x="300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4" name="Google Shape;244;p3"/>
            <p:cNvSpPr/>
            <p:nvPr/>
          </p:nvSpPr>
          <p:spPr>
            <a:xfrm rot="360229" flipH="1">
              <a:off x="6944276" y="3013464"/>
              <a:ext cx="349781" cy="222851"/>
            </a:xfrm>
            <a:custGeom>
              <a:avLst/>
              <a:gdLst/>
              <a:ahLst/>
              <a:cxnLst/>
              <a:rect l="l" t="t" r="r" b="b"/>
              <a:pathLst>
                <a:path w="3844" h="2449" extrusionOk="0">
                  <a:moveTo>
                    <a:pt x="1815" y="0"/>
                  </a:moveTo>
                  <a:cubicBezTo>
                    <a:pt x="992" y="0"/>
                    <a:pt x="251" y="553"/>
                    <a:pt x="37" y="1391"/>
                  </a:cubicBezTo>
                  <a:cubicBezTo>
                    <a:pt x="0" y="1539"/>
                    <a:pt x="113" y="1629"/>
                    <a:pt x="227" y="1629"/>
                  </a:cubicBezTo>
                  <a:cubicBezTo>
                    <a:pt x="309" y="1629"/>
                    <a:pt x="391" y="1582"/>
                    <a:pt x="418" y="1476"/>
                  </a:cubicBezTo>
                  <a:cubicBezTo>
                    <a:pt x="597" y="830"/>
                    <a:pt x="1188" y="397"/>
                    <a:pt x="1828" y="397"/>
                  </a:cubicBezTo>
                  <a:cubicBezTo>
                    <a:pt x="1942" y="397"/>
                    <a:pt x="2058" y="411"/>
                    <a:pt x="2173" y="440"/>
                  </a:cubicBezTo>
                  <a:cubicBezTo>
                    <a:pt x="2956" y="630"/>
                    <a:pt x="3421" y="1412"/>
                    <a:pt x="3231" y="2195"/>
                  </a:cubicBezTo>
                  <a:cubicBezTo>
                    <a:pt x="3188" y="2301"/>
                    <a:pt x="3252" y="2406"/>
                    <a:pt x="3358" y="2449"/>
                  </a:cubicBezTo>
                  <a:lnTo>
                    <a:pt x="3421" y="2449"/>
                  </a:lnTo>
                  <a:cubicBezTo>
                    <a:pt x="3506" y="2428"/>
                    <a:pt x="3569" y="2385"/>
                    <a:pt x="3590" y="2301"/>
                  </a:cubicBezTo>
                  <a:cubicBezTo>
                    <a:pt x="3844" y="1328"/>
                    <a:pt x="3252" y="313"/>
                    <a:pt x="2279" y="59"/>
                  </a:cubicBezTo>
                  <a:cubicBezTo>
                    <a:pt x="2123" y="19"/>
                    <a:pt x="1968" y="0"/>
                    <a:pt x="1815" y="0"/>
                  </a:cubicBezTo>
                  <a:close/>
                </a:path>
              </a:pathLst>
            </a:custGeom>
            <a:solidFill>
              <a:srgbClr val="42443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5" name="Google Shape;245;p3"/>
            <p:cNvSpPr/>
            <p:nvPr/>
          </p:nvSpPr>
          <p:spPr>
            <a:xfrm rot="360229" flipH="1">
              <a:off x="7157064" y="2881352"/>
              <a:ext cx="123206" cy="181720"/>
            </a:xfrm>
            <a:custGeom>
              <a:avLst/>
              <a:gdLst/>
              <a:ahLst/>
              <a:cxnLst/>
              <a:rect l="l" t="t" r="r" b="b"/>
              <a:pathLst>
                <a:path w="1354" h="1997" extrusionOk="0">
                  <a:moveTo>
                    <a:pt x="408" y="0"/>
                  </a:moveTo>
                  <a:cubicBezTo>
                    <a:pt x="318" y="0"/>
                    <a:pt x="229" y="54"/>
                    <a:pt x="212" y="178"/>
                  </a:cubicBezTo>
                  <a:cubicBezTo>
                    <a:pt x="0" y="1151"/>
                    <a:pt x="973" y="1912"/>
                    <a:pt x="1015" y="1954"/>
                  </a:cubicBezTo>
                  <a:cubicBezTo>
                    <a:pt x="1037" y="1975"/>
                    <a:pt x="1079" y="1997"/>
                    <a:pt x="1142" y="1997"/>
                  </a:cubicBezTo>
                  <a:cubicBezTo>
                    <a:pt x="1206" y="1997"/>
                    <a:pt x="1269" y="1954"/>
                    <a:pt x="1311" y="1912"/>
                  </a:cubicBezTo>
                  <a:cubicBezTo>
                    <a:pt x="1354" y="1806"/>
                    <a:pt x="1333" y="1701"/>
                    <a:pt x="1248" y="1637"/>
                  </a:cubicBezTo>
                  <a:cubicBezTo>
                    <a:pt x="1248" y="1616"/>
                    <a:pt x="444" y="1003"/>
                    <a:pt x="614" y="262"/>
                  </a:cubicBezTo>
                  <a:cubicBezTo>
                    <a:pt x="663" y="103"/>
                    <a:pt x="533" y="0"/>
                    <a:pt x="408" y="0"/>
                  </a:cubicBezTo>
                  <a:close/>
                </a:path>
              </a:pathLst>
            </a:custGeom>
            <a:solidFill>
              <a:srgbClr val="42443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6" name="Google Shape;246;p3"/>
            <p:cNvSpPr/>
            <p:nvPr/>
          </p:nvSpPr>
          <p:spPr>
            <a:xfrm rot="360229" flipH="1">
              <a:off x="7227566" y="2916849"/>
              <a:ext cx="129030" cy="167525"/>
            </a:xfrm>
            <a:custGeom>
              <a:avLst/>
              <a:gdLst/>
              <a:ahLst/>
              <a:cxnLst/>
              <a:rect l="l" t="t" r="r" b="b"/>
              <a:pathLst>
                <a:path w="1418" h="1841" extrusionOk="0">
                  <a:moveTo>
                    <a:pt x="275" y="1"/>
                  </a:moveTo>
                  <a:cubicBezTo>
                    <a:pt x="148" y="1"/>
                    <a:pt x="64" y="85"/>
                    <a:pt x="64" y="191"/>
                  </a:cubicBezTo>
                  <a:cubicBezTo>
                    <a:pt x="0" y="1185"/>
                    <a:pt x="1058" y="1798"/>
                    <a:pt x="1100" y="1819"/>
                  </a:cubicBezTo>
                  <a:cubicBezTo>
                    <a:pt x="1121" y="1841"/>
                    <a:pt x="1163" y="1841"/>
                    <a:pt x="1184" y="1841"/>
                  </a:cubicBezTo>
                  <a:cubicBezTo>
                    <a:pt x="1269" y="1841"/>
                    <a:pt x="1332" y="1798"/>
                    <a:pt x="1375" y="1735"/>
                  </a:cubicBezTo>
                  <a:cubicBezTo>
                    <a:pt x="1417" y="1650"/>
                    <a:pt x="1375" y="1523"/>
                    <a:pt x="1290" y="1481"/>
                  </a:cubicBezTo>
                  <a:cubicBezTo>
                    <a:pt x="1290" y="1460"/>
                    <a:pt x="402" y="952"/>
                    <a:pt x="465" y="212"/>
                  </a:cubicBezTo>
                  <a:cubicBezTo>
                    <a:pt x="465" y="106"/>
                    <a:pt x="381" y="22"/>
                    <a:pt x="275" y="1"/>
                  </a:cubicBezTo>
                  <a:close/>
                </a:path>
              </a:pathLst>
            </a:custGeom>
            <a:solidFill>
              <a:srgbClr val="42443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7" name="Google Shape;247;p3"/>
            <p:cNvSpPr/>
            <p:nvPr/>
          </p:nvSpPr>
          <p:spPr>
            <a:xfrm rot="360229" flipH="1">
              <a:off x="7245739" y="2997451"/>
              <a:ext cx="161788" cy="140954"/>
            </a:xfrm>
            <a:custGeom>
              <a:avLst/>
              <a:gdLst/>
              <a:ahLst/>
              <a:cxnLst/>
              <a:rect l="l" t="t" r="r" b="b"/>
              <a:pathLst>
                <a:path w="1778" h="1549" extrusionOk="0">
                  <a:moveTo>
                    <a:pt x="231" y="1"/>
                  </a:moveTo>
                  <a:cubicBezTo>
                    <a:pt x="218" y="1"/>
                    <a:pt x="204" y="2"/>
                    <a:pt x="191" y="5"/>
                  </a:cubicBezTo>
                  <a:cubicBezTo>
                    <a:pt x="64" y="26"/>
                    <a:pt x="1" y="132"/>
                    <a:pt x="22" y="237"/>
                  </a:cubicBezTo>
                  <a:cubicBezTo>
                    <a:pt x="212" y="1231"/>
                    <a:pt x="1396" y="1549"/>
                    <a:pt x="1460" y="1549"/>
                  </a:cubicBezTo>
                  <a:lnTo>
                    <a:pt x="1502" y="1549"/>
                  </a:lnTo>
                  <a:cubicBezTo>
                    <a:pt x="1735" y="1549"/>
                    <a:pt x="1777" y="1231"/>
                    <a:pt x="1544" y="1168"/>
                  </a:cubicBezTo>
                  <a:cubicBezTo>
                    <a:pt x="1544" y="1168"/>
                    <a:pt x="572" y="893"/>
                    <a:pt x="424" y="174"/>
                  </a:cubicBezTo>
                  <a:cubicBezTo>
                    <a:pt x="405" y="63"/>
                    <a:pt x="322" y="1"/>
                    <a:pt x="231" y="1"/>
                  </a:cubicBezTo>
                  <a:close/>
                </a:path>
              </a:pathLst>
            </a:custGeom>
            <a:solidFill>
              <a:srgbClr val="42443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8" name="Google Shape;248;p3"/>
            <p:cNvSpPr/>
            <p:nvPr/>
          </p:nvSpPr>
          <p:spPr>
            <a:xfrm rot="360229" flipH="1">
              <a:off x="6718881" y="2468681"/>
              <a:ext cx="833415" cy="360711"/>
            </a:xfrm>
            <a:custGeom>
              <a:avLst/>
              <a:gdLst/>
              <a:ahLst/>
              <a:cxnLst/>
              <a:rect l="l" t="t" r="r" b="b"/>
              <a:pathLst>
                <a:path w="9159" h="3964" extrusionOk="0">
                  <a:moveTo>
                    <a:pt x="6886" y="0"/>
                  </a:moveTo>
                  <a:cubicBezTo>
                    <a:pt x="5855" y="0"/>
                    <a:pt x="4795" y="717"/>
                    <a:pt x="4844" y="1616"/>
                  </a:cubicBezTo>
                  <a:cubicBezTo>
                    <a:pt x="4519" y="1074"/>
                    <a:pt x="3947" y="763"/>
                    <a:pt x="3339" y="763"/>
                  </a:cubicBezTo>
                  <a:cubicBezTo>
                    <a:pt x="3235" y="763"/>
                    <a:pt x="3130" y="772"/>
                    <a:pt x="3025" y="791"/>
                  </a:cubicBezTo>
                  <a:cubicBezTo>
                    <a:pt x="2348" y="897"/>
                    <a:pt x="1883" y="1552"/>
                    <a:pt x="2010" y="2229"/>
                  </a:cubicBezTo>
                  <a:cubicBezTo>
                    <a:pt x="1841" y="2039"/>
                    <a:pt x="1603" y="1944"/>
                    <a:pt x="1365" y="1944"/>
                  </a:cubicBezTo>
                  <a:cubicBezTo>
                    <a:pt x="1127" y="1944"/>
                    <a:pt x="889" y="2039"/>
                    <a:pt x="720" y="2229"/>
                  </a:cubicBezTo>
                  <a:cubicBezTo>
                    <a:pt x="1" y="2885"/>
                    <a:pt x="64" y="3963"/>
                    <a:pt x="64" y="3963"/>
                  </a:cubicBezTo>
                  <a:cubicBezTo>
                    <a:pt x="64" y="3963"/>
                    <a:pt x="1666" y="2878"/>
                    <a:pt x="3318" y="2878"/>
                  </a:cubicBezTo>
                  <a:cubicBezTo>
                    <a:pt x="3467" y="2878"/>
                    <a:pt x="3617" y="2887"/>
                    <a:pt x="3765" y="2906"/>
                  </a:cubicBezTo>
                  <a:cubicBezTo>
                    <a:pt x="3765" y="2906"/>
                    <a:pt x="4709" y="3907"/>
                    <a:pt x="6559" y="3907"/>
                  </a:cubicBezTo>
                  <a:cubicBezTo>
                    <a:pt x="6648" y="3907"/>
                    <a:pt x="6739" y="3905"/>
                    <a:pt x="6832" y="3900"/>
                  </a:cubicBezTo>
                  <a:cubicBezTo>
                    <a:pt x="6917" y="3900"/>
                    <a:pt x="6980" y="3879"/>
                    <a:pt x="7065" y="3879"/>
                  </a:cubicBezTo>
                  <a:cubicBezTo>
                    <a:pt x="7551" y="3773"/>
                    <a:pt x="9158" y="3286"/>
                    <a:pt x="8672" y="1404"/>
                  </a:cubicBezTo>
                  <a:cubicBezTo>
                    <a:pt x="8402" y="395"/>
                    <a:pt x="7652" y="0"/>
                    <a:pt x="6886" y="0"/>
                  </a:cubicBezTo>
                  <a:close/>
                </a:path>
              </a:pathLst>
            </a:custGeom>
            <a:solidFill>
              <a:srgbClr val="BB3D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9" name="Google Shape;249;p3"/>
            <p:cNvSpPr/>
            <p:nvPr/>
          </p:nvSpPr>
          <p:spPr>
            <a:xfrm rot="360229" flipH="1">
              <a:off x="6434798" y="2522875"/>
              <a:ext cx="2349923" cy="2313042"/>
            </a:xfrm>
            <a:custGeom>
              <a:avLst/>
              <a:gdLst/>
              <a:ahLst/>
              <a:cxnLst/>
              <a:rect l="l" t="t" r="r" b="b"/>
              <a:pathLst>
                <a:path w="25825" h="25419" extrusionOk="0">
                  <a:moveTo>
                    <a:pt x="21574" y="1"/>
                  </a:moveTo>
                  <a:cubicBezTo>
                    <a:pt x="20540" y="1"/>
                    <a:pt x="19473" y="716"/>
                    <a:pt x="19522" y="1627"/>
                  </a:cubicBezTo>
                  <a:cubicBezTo>
                    <a:pt x="19219" y="1092"/>
                    <a:pt x="18645" y="767"/>
                    <a:pt x="18042" y="767"/>
                  </a:cubicBezTo>
                  <a:cubicBezTo>
                    <a:pt x="17929" y="767"/>
                    <a:pt x="17816" y="779"/>
                    <a:pt x="17703" y="802"/>
                  </a:cubicBezTo>
                  <a:cubicBezTo>
                    <a:pt x="17026" y="908"/>
                    <a:pt x="16582" y="1542"/>
                    <a:pt x="16709" y="2219"/>
                  </a:cubicBezTo>
                  <a:cubicBezTo>
                    <a:pt x="16529" y="2029"/>
                    <a:pt x="16291" y="1933"/>
                    <a:pt x="16053" y="1933"/>
                  </a:cubicBezTo>
                  <a:cubicBezTo>
                    <a:pt x="15815" y="1933"/>
                    <a:pt x="15577" y="2029"/>
                    <a:pt x="15398" y="2219"/>
                  </a:cubicBezTo>
                  <a:cubicBezTo>
                    <a:pt x="14724" y="2852"/>
                    <a:pt x="14760" y="3878"/>
                    <a:pt x="14763" y="3949"/>
                  </a:cubicBezTo>
                  <a:lnTo>
                    <a:pt x="14763" y="3949"/>
                  </a:lnTo>
                  <a:cubicBezTo>
                    <a:pt x="12289" y="5545"/>
                    <a:pt x="10470" y="8183"/>
                    <a:pt x="10470" y="8183"/>
                  </a:cubicBezTo>
                  <a:cubicBezTo>
                    <a:pt x="10343" y="8373"/>
                    <a:pt x="10279" y="8606"/>
                    <a:pt x="10301" y="8839"/>
                  </a:cubicBezTo>
                  <a:cubicBezTo>
                    <a:pt x="10026" y="9135"/>
                    <a:pt x="9814" y="9410"/>
                    <a:pt x="9645" y="9642"/>
                  </a:cubicBezTo>
                  <a:cubicBezTo>
                    <a:pt x="9328" y="9537"/>
                    <a:pt x="9010" y="9494"/>
                    <a:pt x="8693" y="9473"/>
                  </a:cubicBezTo>
                  <a:cubicBezTo>
                    <a:pt x="8038" y="9473"/>
                    <a:pt x="7784" y="9685"/>
                    <a:pt x="7741" y="9960"/>
                  </a:cubicBezTo>
                  <a:cubicBezTo>
                    <a:pt x="7234" y="9811"/>
                    <a:pt x="6726" y="9706"/>
                    <a:pt x="6198" y="9663"/>
                  </a:cubicBezTo>
                  <a:cubicBezTo>
                    <a:pt x="6621" y="8521"/>
                    <a:pt x="7826" y="5116"/>
                    <a:pt x="6747" y="5011"/>
                  </a:cubicBezTo>
                  <a:cubicBezTo>
                    <a:pt x="6712" y="5007"/>
                    <a:pt x="6678" y="5005"/>
                    <a:pt x="6645" y="5005"/>
                  </a:cubicBezTo>
                  <a:cubicBezTo>
                    <a:pt x="5915" y="5005"/>
                    <a:pt x="5599" y="5866"/>
                    <a:pt x="5457" y="6533"/>
                  </a:cubicBezTo>
                  <a:cubicBezTo>
                    <a:pt x="5542" y="5666"/>
                    <a:pt x="5521" y="4376"/>
                    <a:pt x="4865" y="4376"/>
                  </a:cubicBezTo>
                  <a:cubicBezTo>
                    <a:pt x="3871" y="4376"/>
                    <a:pt x="3871" y="6660"/>
                    <a:pt x="3871" y="6660"/>
                  </a:cubicBezTo>
                  <a:cubicBezTo>
                    <a:pt x="3871" y="6660"/>
                    <a:pt x="3814" y="4358"/>
                    <a:pt x="3004" y="4358"/>
                  </a:cubicBezTo>
                  <a:cubicBezTo>
                    <a:pt x="2964" y="4358"/>
                    <a:pt x="2921" y="4364"/>
                    <a:pt x="2877" y="4376"/>
                  </a:cubicBezTo>
                  <a:cubicBezTo>
                    <a:pt x="1947" y="4630"/>
                    <a:pt x="2116" y="7189"/>
                    <a:pt x="2116" y="7189"/>
                  </a:cubicBezTo>
                  <a:cubicBezTo>
                    <a:pt x="2116" y="7189"/>
                    <a:pt x="1884" y="4885"/>
                    <a:pt x="1170" y="4885"/>
                  </a:cubicBezTo>
                  <a:cubicBezTo>
                    <a:pt x="1078" y="4885"/>
                    <a:pt x="977" y="4923"/>
                    <a:pt x="868" y="5011"/>
                  </a:cubicBezTo>
                  <a:cubicBezTo>
                    <a:pt x="1" y="5709"/>
                    <a:pt x="614" y="12645"/>
                    <a:pt x="3385" y="13576"/>
                  </a:cubicBezTo>
                  <a:cubicBezTo>
                    <a:pt x="3702" y="14676"/>
                    <a:pt x="4125" y="15733"/>
                    <a:pt x="4675" y="16727"/>
                  </a:cubicBezTo>
                  <a:cubicBezTo>
                    <a:pt x="5775" y="18800"/>
                    <a:pt x="7720" y="20323"/>
                    <a:pt x="9941" y="21126"/>
                  </a:cubicBezTo>
                  <a:lnTo>
                    <a:pt x="10554" y="24256"/>
                  </a:lnTo>
                  <a:cubicBezTo>
                    <a:pt x="10576" y="24383"/>
                    <a:pt x="10660" y="24531"/>
                    <a:pt x="10766" y="24616"/>
                  </a:cubicBezTo>
                  <a:cubicBezTo>
                    <a:pt x="11095" y="24891"/>
                    <a:pt x="11773" y="25419"/>
                    <a:pt x="12142" y="25419"/>
                  </a:cubicBezTo>
                  <a:cubicBezTo>
                    <a:pt x="12199" y="25419"/>
                    <a:pt x="12249" y="25406"/>
                    <a:pt x="12289" y="25377"/>
                  </a:cubicBezTo>
                  <a:cubicBezTo>
                    <a:pt x="12712" y="25124"/>
                    <a:pt x="11612" y="24468"/>
                    <a:pt x="11612" y="24468"/>
                  </a:cubicBezTo>
                  <a:lnTo>
                    <a:pt x="11612" y="24468"/>
                  </a:lnTo>
                  <a:cubicBezTo>
                    <a:pt x="11612" y="24468"/>
                    <a:pt x="12739" y="25094"/>
                    <a:pt x="13309" y="25094"/>
                  </a:cubicBezTo>
                  <a:cubicBezTo>
                    <a:pt x="13402" y="25094"/>
                    <a:pt x="13480" y="25077"/>
                    <a:pt x="13536" y="25039"/>
                  </a:cubicBezTo>
                  <a:cubicBezTo>
                    <a:pt x="13938" y="24743"/>
                    <a:pt x="12078" y="24066"/>
                    <a:pt x="12077" y="24066"/>
                  </a:cubicBezTo>
                  <a:lnTo>
                    <a:pt x="12077" y="24066"/>
                  </a:lnTo>
                  <a:cubicBezTo>
                    <a:pt x="12077" y="24066"/>
                    <a:pt x="12885" y="24316"/>
                    <a:pt x="13324" y="24316"/>
                  </a:cubicBezTo>
                  <a:cubicBezTo>
                    <a:pt x="13483" y="24316"/>
                    <a:pt x="13594" y="24283"/>
                    <a:pt x="13600" y="24193"/>
                  </a:cubicBezTo>
                  <a:cubicBezTo>
                    <a:pt x="13600" y="23749"/>
                    <a:pt x="11739" y="23601"/>
                    <a:pt x="11739" y="23601"/>
                  </a:cubicBezTo>
                  <a:lnTo>
                    <a:pt x="11739" y="21613"/>
                  </a:lnTo>
                  <a:cubicBezTo>
                    <a:pt x="12341" y="21719"/>
                    <a:pt x="12944" y="21766"/>
                    <a:pt x="13546" y="21766"/>
                  </a:cubicBezTo>
                  <a:cubicBezTo>
                    <a:pt x="13663" y="21766"/>
                    <a:pt x="13779" y="21764"/>
                    <a:pt x="13896" y="21761"/>
                  </a:cubicBezTo>
                  <a:lnTo>
                    <a:pt x="14171" y="23685"/>
                  </a:lnTo>
                  <a:cubicBezTo>
                    <a:pt x="14192" y="23833"/>
                    <a:pt x="14256" y="23960"/>
                    <a:pt x="14361" y="24045"/>
                  </a:cubicBezTo>
                  <a:cubicBezTo>
                    <a:pt x="14644" y="24309"/>
                    <a:pt x="15247" y="24809"/>
                    <a:pt x="15569" y="24809"/>
                  </a:cubicBezTo>
                  <a:cubicBezTo>
                    <a:pt x="15608" y="24809"/>
                    <a:pt x="15643" y="24801"/>
                    <a:pt x="15673" y="24785"/>
                  </a:cubicBezTo>
                  <a:cubicBezTo>
                    <a:pt x="16074" y="24553"/>
                    <a:pt x="15124" y="23940"/>
                    <a:pt x="15123" y="23939"/>
                  </a:cubicBezTo>
                  <a:lnTo>
                    <a:pt x="15123" y="23939"/>
                  </a:lnTo>
                  <a:cubicBezTo>
                    <a:pt x="15124" y="23940"/>
                    <a:pt x="16092" y="24559"/>
                    <a:pt x="16598" y="24559"/>
                  </a:cubicBezTo>
                  <a:cubicBezTo>
                    <a:pt x="16676" y="24559"/>
                    <a:pt x="16743" y="24544"/>
                    <a:pt x="16793" y="24510"/>
                  </a:cubicBezTo>
                  <a:cubicBezTo>
                    <a:pt x="17153" y="24278"/>
                    <a:pt x="15546" y="23601"/>
                    <a:pt x="15546" y="23601"/>
                  </a:cubicBezTo>
                  <a:lnTo>
                    <a:pt x="15546" y="23601"/>
                  </a:lnTo>
                  <a:cubicBezTo>
                    <a:pt x="15546" y="23601"/>
                    <a:pt x="16316" y="23887"/>
                    <a:pt x="16686" y="23887"/>
                  </a:cubicBezTo>
                  <a:cubicBezTo>
                    <a:pt x="16798" y="23887"/>
                    <a:pt x="16873" y="23860"/>
                    <a:pt x="16878" y="23791"/>
                  </a:cubicBezTo>
                  <a:cubicBezTo>
                    <a:pt x="16899" y="23389"/>
                    <a:pt x="15271" y="23178"/>
                    <a:pt x="15271" y="23178"/>
                  </a:cubicBezTo>
                  <a:lnTo>
                    <a:pt x="15355" y="21592"/>
                  </a:lnTo>
                  <a:cubicBezTo>
                    <a:pt x="17238" y="21232"/>
                    <a:pt x="18951" y="20302"/>
                    <a:pt x="20241" y="18885"/>
                  </a:cubicBezTo>
                  <a:cubicBezTo>
                    <a:pt x="21214" y="18863"/>
                    <a:pt x="22588" y="18462"/>
                    <a:pt x="22715" y="16368"/>
                  </a:cubicBezTo>
                  <a:cubicBezTo>
                    <a:pt x="22758" y="15902"/>
                    <a:pt x="22694" y="15458"/>
                    <a:pt x="22567" y="15014"/>
                  </a:cubicBezTo>
                  <a:cubicBezTo>
                    <a:pt x="23096" y="14866"/>
                    <a:pt x="23730" y="13640"/>
                    <a:pt x="24069" y="12032"/>
                  </a:cubicBezTo>
                  <a:cubicBezTo>
                    <a:pt x="24957" y="11757"/>
                    <a:pt x="25824" y="11250"/>
                    <a:pt x="25740" y="10932"/>
                  </a:cubicBezTo>
                  <a:cubicBezTo>
                    <a:pt x="25655" y="10679"/>
                    <a:pt x="24894" y="10361"/>
                    <a:pt x="24280" y="10150"/>
                  </a:cubicBezTo>
                  <a:cubicBezTo>
                    <a:pt x="24344" y="7887"/>
                    <a:pt x="23709" y="5391"/>
                    <a:pt x="21616" y="3890"/>
                  </a:cubicBezTo>
                  <a:lnTo>
                    <a:pt x="21764" y="3869"/>
                  </a:lnTo>
                  <a:cubicBezTo>
                    <a:pt x="22229" y="3763"/>
                    <a:pt x="23857" y="3276"/>
                    <a:pt x="23350" y="1394"/>
                  </a:cubicBezTo>
                  <a:cubicBezTo>
                    <a:pt x="23089" y="394"/>
                    <a:pt x="22340" y="1"/>
                    <a:pt x="21574" y="1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0" name="Google Shape;250;p3"/>
            <p:cNvSpPr/>
            <p:nvPr/>
          </p:nvSpPr>
          <p:spPr>
            <a:xfrm rot="360229" flipH="1">
              <a:off x="6346279" y="2449297"/>
              <a:ext cx="2499972" cy="2458455"/>
            </a:xfrm>
            <a:custGeom>
              <a:avLst/>
              <a:gdLst/>
              <a:ahLst/>
              <a:cxnLst/>
              <a:rect l="l" t="t" r="r" b="b"/>
              <a:pathLst>
                <a:path w="27474" h="27017" extrusionOk="0">
                  <a:moveTo>
                    <a:pt x="22311" y="1594"/>
                  </a:moveTo>
                  <a:cubicBezTo>
                    <a:pt x="22780" y="1594"/>
                    <a:pt x="23182" y="1947"/>
                    <a:pt x="23264" y="2420"/>
                  </a:cubicBezTo>
                  <a:cubicBezTo>
                    <a:pt x="23370" y="2716"/>
                    <a:pt x="23349" y="3054"/>
                    <a:pt x="23201" y="3350"/>
                  </a:cubicBezTo>
                  <a:cubicBezTo>
                    <a:pt x="22968" y="3731"/>
                    <a:pt x="22418" y="3879"/>
                    <a:pt x="22249" y="3900"/>
                  </a:cubicBezTo>
                  <a:lnTo>
                    <a:pt x="22186" y="3900"/>
                  </a:lnTo>
                  <a:lnTo>
                    <a:pt x="21065" y="4027"/>
                  </a:lnTo>
                  <a:lnTo>
                    <a:pt x="20980" y="2377"/>
                  </a:lnTo>
                  <a:cubicBezTo>
                    <a:pt x="20959" y="2060"/>
                    <a:pt x="21467" y="1701"/>
                    <a:pt x="21995" y="1616"/>
                  </a:cubicBezTo>
                  <a:cubicBezTo>
                    <a:pt x="22101" y="1595"/>
                    <a:pt x="22186" y="1595"/>
                    <a:pt x="22270" y="1595"/>
                  </a:cubicBezTo>
                  <a:cubicBezTo>
                    <a:pt x="22284" y="1594"/>
                    <a:pt x="22298" y="1594"/>
                    <a:pt x="22311" y="1594"/>
                  </a:cubicBezTo>
                  <a:close/>
                  <a:moveTo>
                    <a:pt x="5372" y="6967"/>
                  </a:moveTo>
                  <a:cubicBezTo>
                    <a:pt x="5372" y="7033"/>
                    <a:pt x="5359" y="7112"/>
                    <a:pt x="5353" y="7204"/>
                  </a:cubicBezTo>
                  <a:lnTo>
                    <a:pt x="5353" y="7204"/>
                  </a:lnTo>
                  <a:cubicBezTo>
                    <a:pt x="5356" y="7121"/>
                    <a:pt x="5361" y="7041"/>
                    <a:pt x="5372" y="6967"/>
                  </a:cubicBezTo>
                  <a:close/>
                  <a:moveTo>
                    <a:pt x="18730" y="2357"/>
                  </a:moveTo>
                  <a:cubicBezTo>
                    <a:pt x="19050" y="2357"/>
                    <a:pt x="19357" y="2540"/>
                    <a:pt x="19500" y="2843"/>
                  </a:cubicBezTo>
                  <a:lnTo>
                    <a:pt x="20240" y="4154"/>
                  </a:lnTo>
                  <a:lnTo>
                    <a:pt x="20134" y="4154"/>
                  </a:lnTo>
                  <a:lnTo>
                    <a:pt x="20303" y="4281"/>
                  </a:lnTo>
                  <a:lnTo>
                    <a:pt x="21171" y="5867"/>
                  </a:lnTo>
                  <a:lnTo>
                    <a:pt x="21128" y="4852"/>
                  </a:lnTo>
                  <a:lnTo>
                    <a:pt x="21826" y="5359"/>
                  </a:lnTo>
                  <a:cubicBezTo>
                    <a:pt x="23962" y="6861"/>
                    <a:pt x="24216" y="9484"/>
                    <a:pt x="24174" y="10943"/>
                  </a:cubicBezTo>
                  <a:lnTo>
                    <a:pt x="24153" y="11514"/>
                  </a:lnTo>
                  <a:lnTo>
                    <a:pt x="24703" y="11704"/>
                  </a:lnTo>
                  <a:cubicBezTo>
                    <a:pt x="24851" y="11768"/>
                    <a:pt x="24999" y="11810"/>
                    <a:pt x="25104" y="11852"/>
                  </a:cubicBezTo>
                  <a:cubicBezTo>
                    <a:pt x="24914" y="11958"/>
                    <a:pt x="24724" y="12021"/>
                    <a:pt x="24512" y="12085"/>
                  </a:cubicBezTo>
                  <a:lnTo>
                    <a:pt x="24047" y="12233"/>
                  </a:lnTo>
                  <a:lnTo>
                    <a:pt x="23962" y="12677"/>
                  </a:lnTo>
                  <a:cubicBezTo>
                    <a:pt x="23666" y="14073"/>
                    <a:pt x="23201" y="14919"/>
                    <a:pt x="22989" y="15067"/>
                  </a:cubicBezTo>
                  <a:lnTo>
                    <a:pt x="22228" y="15278"/>
                  </a:lnTo>
                  <a:lnTo>
                    <a:pt x="22482" y="16061"/>
                  </a:lnTo>
                  <a:cubicBezTo>
                    <a:pt x="22588" y="16399"/>
                    <a:pt x="22630" y="16759"/>
                    <a:pt x="22609" y="17118"/>
                  </a:cubicBezTo>
                  <a:cubicBezTo>
                    <a:pt x="22524" y="18303"/>
                    <a:pt x="21995" y="18874"/>
                    <a:pt x="20896" y="18895"/>
                  </a:cubicBezTo>
                  <a:lnTo>
                    <a:pt x="20557" y="18895"/>
                  </a:lnTo>
                  <a:lnTo>
                    <a:pt x="20325" y="19149"/>
                  </a:lnTo>
                  <a:cubicBezTo>
                    <a:pt x="19161" y="20439"/>
                    <a:pt x="17596" y="21306"/>
                    <a:pt x="15883" y="21602"/>
                  </a:cubicBezTo>
                  <a:lnTo>
                    <a:pt x="15270" y="21729"/>
                  </a:lnTo>
                  <a:lnTo>
                    <a:pt x="14551" y="21750"/>
                  </a:lnTo>
                  <a:cubicBezTo>
                    <a:pt x="14442" y="21754"/>
                    <a:pt x="14332" y="21755"/>
                    <a:pt x="14221" y="21755"/>
                  </a:cubicBezTo>
                  <a:cubicBezTo>
                    <a:pt x="13670" y="21755"/>
                    <a:pt x="13109" y="21711"/>
                    <a:pt x="12563" y="21623"/>
                  </a:cubicBezTo>
                  <a:lnTo>
                    <a:pt x="11632" y="21454"/>
                  </a:lnTo>
                  <a:lnTo>
                    <a:pt x="11632" y="22935"/>
                  </a:lnTo>
                  <a:lnTo>
                    <a:pt x="11315" y="21327"/>
                  </a:lnTo>
                  <a:lnTo>
                    <a:pt x="10892" y="21179"/>
                  </a:lnTo>
                  <a:cubicBezTo>
                    <a:pt x="8735" y="20397"/>
                    <a:pt x="7022" y="18980"/>
                    <a:pt x="6070" y="17140"/>
                  </a:cubicBezTo>
                  <a:cubicBezTo>
                    <a:pt x="5541" y="16209"/>
                    <a:pt x="5118" y="15194"/>
                    <a:pt x="4822" y="14158"/>
                  </a:cubicBezTo>
                  <a:lnTo>
                    <a:pt x="4716" y="13756"/>
                  </a:lnTo>
                  <a:lnTo>
                    <a:pt x="4315" y="13608"/>
                  </a:lnTo>
                  <a:cubicBezTo>
                    <a:pt x="3701" y="13417"/>
                    <a:pt x="3130" y="12677"/>
                    <a:pt x="2707" y="11535"/>
                  </a:cubicBezTo>
                  <a:cubicBezTo>
                    <a:pt x="2284" y="10351"/>
                    <a:pt x="2030" y="9124"/>
                    <a:pt x="1988" y="7855"/>
                  </a:cubicBezTo>
                  <a:lnTo>
                    <a:pt x="1988" y="7855"/>
                  </a:lnTo>
                  <a:cubicBezTo>
                    <a:pt x="2009" y="7940"/>
                    <a:pt x="2009" y="8003"/>
                    <a:pt x="2009" y="8067"/>
                  </a:cubicBezTo>
                  <a:lnTo>
                    <a:pt x="3595" y="7919"/>
                  </a:lnTo>
                  <a:cubicBezTo>
                    <a:pt x="3574" y="7453"/>
                    <a:pt x="3574" y="6967"/>
                    <a:pt x="3659" y="6502"/>
                  </a:cubicBezTo>
                  <a:cubicBezTo>
                    <a:pt x="3722" y="6819"/>
                    <a:pt x="3743" y="7136"/>
                    <a:pt x="3765" y="7474"/>
                  </a:cubicBezTo>
                  <a:lnTo>
                    <a:pt x="5351" y="7453"/>
                  </a:lnTo>
                  <a:cubicBezTo>
                    <a:pt x="5351" y="7397"/>
                    <a:pt x="5351" y="7340"/>
                    <a:pt x="5352" y="7284"/>
                  </a:cubicBezTo>
                  <a:lnTo>
                    <a:pt x="5352" y="7284"/>
                  </a:lnTo>
                  <a:lnTo>
                    <a:pt x="6916" y="7496"/>
                  </a:lnTo>
                  <a:cubicBezTo>
                    <a:pt x="6958" y="7347"/>
                    <a:pt x="7000" y="7199"/>
                    <a:pt x="7043" y="7051"/>
                  </a:cubicBezTo>
                  <a:lnTo>
                    <a:pt x="7043" y="7051"/>
                  </a:lnTo>
                  <a:cubicBezTo>
                    <a:pt x="6852" y="8130"/>
                    <a:pt x="6556" y="9166"/>
                    <a:pt x="6133" y="10181"/>
                  </a:cubicBezTo>
                  <a:lnTo>
                    <a:pt x="5774" y="11154"/>
                  </a:lnTo>
                  <a:lnTo>
                    <a:pt x="6789" y="11260"/>
                  </a:lnTo>
                  <a:cubicBezTo>
                    <a:pt x="7275" y="11302"/>
                    <a:pt x="7741" y="11408"/>
                    <a:pt x="8206" y="11535"/>
                  </a:cubicBezTo>
                  <a:lnTo>
                    <a:pt x="9115" y="11810"/>
                  </a:lnTo>
                  <a:lnTo>
                    <a:pt x="9200" y="11091"/>
                  </a:lnTo>
                  <a:lnTo>
                    <a:pt x="9348" y="11091"/>
                  </a:lnTo>
                  <a:cubicBezTo>
                    <a:pt x="9602" y="11091"/>
                    <a:pt x="9856" y="11133"/>
                    <a:pt x="10109" y="11218"/>
                  </a:cubicBezTo>
                  <a:lnTo>
                    <a:pt x="10617" y="11366"/>
                  </a:lnTo>
                  <a:lnTo>
                    <a:pt x="10934" y="10922"/>
                  </a:lnTo>
                  <a:cubicBezTo>
                    <a:pt x="11125" y="10668"/>
                    <a:pt x="11357" y="10393"/>
                    <a:pt x="11569" y="10139"/>
                  </a:cubicBezTo>
                  <a:lnTo>
                    <a:pt x="11801" y="9864"/>
                  </a:lnTo>
                  <a:lnTo>
                    <a:pt x="11759" y="9547"/>
                  </a:lnTo>
                  <a:cubicBezTo>
                    <a:pt x="11780" y="9505"/>
                    <a:pt x="11801" y="9441"/>
                    <a:pt x="11823" y="9399"/>
                  </a:cubicBezTo>
                  <a:cubicBezTo>
                    <a:pt x="12034" y="9103"/>
                    <a:pt x="13578" y="7009"/>
                    <a:pt x="15587" y="5613"/>
                  </a:cubicBezTo>
                  <a:lnTo>
                    <a:pt x="15862" y="5423"/>
                  </a:lnTo>
                  <a:lnTo>
                    <a:pt x="15989" y="5338"/>
                  </a:lnTo>
                  <a:lnTo>
                    <a:pt x="15629" y="4746"/>
                  </a:lnTo>
                  <a:lnTo>
                    <a:pt x="16222" y="4725"/>
                  </a:lnTo>
                  <a:cubicBezTo>
                    <a:pt x="16200" y="4302"/>
                    <a:pt x="16349" y="3921"/>
                    <a:pt x="16623" y="3604"/>
                  </a:cubicBezTo>
                  <a:cubicBezTo>
                    <a:pt x="16645" y="3562"/>
                    <a:pt x="16687" y="3541"/>
                    <a:pt x="16729" y="3519"/>
                  </a:cubicBezTo>
                  <a:cubicBezTo>
                    <a:pt x="16750" y="3519"/>
                    <a:pt x="16772" y="3541"/>
                    <a:pt x="16793" y="3562"/>
                  </a:cubicBezTo>
                  <a:lnTo>
                    <a:pt x="18738" y="6015"/>
                  </a:lnTo>
                  <a:lnTo>
                    <a:pt x="18167" y="2885"/>
                  </a:lnTo>
                  <a:cubicBezTo>
                    <a:pt x="18104" y="2610"/>
                    <a:pt x="18252" y="2441"/>
                    <a:pt x="18548" y="2377"/>
                  </a:cubicBezTo>
                  <a:cubicBezTo>
                    <a:pt x="18608" y="2364"/>
                    <a:pt x="18669" y="2357"/>
                    <a:pt x="18730" y="2357"/>
                  </a:cubicBezTo>
                  <a:close/>
                  <a:moveTo>
                    <a:pt x="13218" y="23294"/>
                  </a:moveTo>
                  <a:cubicBezTo>
                    <a:pt x="13451" y="23315"/>
                    <a:pt x="13684" y="23336"/>
                    <a:pt x="13895" y="23336"/>
                  </a:cubicBezTo>
                  <a:lnTo>
                    <a:pt x="13980" y="23865"/>
                  </a:lnTo>
                  <a:cubicBezTo>
                    <a:pt x="13726" y="23781"/>
                    <a:pt x="13472" y="23717"/>
                    <a:pt x="13218" y="23696"/>
                  </a:cubicBezTo>
                  <a:lnTo>
                    <a:pt x="13218" y="23294"/>
                  </a:lnTo>
                  <a:close/>
                  <a:moveTo>
                    <a:pt x="22295" y="0"/>
                  </a:moveTo>
                  <a:cubicBezTo>
                    <a:pt x="22127" y="0"/>
                    <a:pt x="21956" y="17"/>
                    <a:pt x="21784" y="51"/>
                  </a:cubicBezTo>
                  <a:cubicBezTo>
                    <a:pt x="21065" y="157"/>
                    <a:pt x="20388" y="516"/>
                    <a:pt x="19902" y="1066"/>
                  </a:cubicBezTo>
                  <a:cubicBezTo>
                    <a:pt x="19538" y="869"/>
                    <a:pt x="19131" y="759"/>
                    <a:pt x="18727" y="759"/>
                  </a:cubicBezTo>
                  <a:cubicBezTo>
                    <a:pt x="18567" y="759"/>
                    <a:pt x="18408" y="776"/>
                    <a:pt x="18252" y="812"/>
                  </a:cubicBezTo>
                  <a:cubicBezTo>
                    <a:pt x="17596" y="918"/>
                    <a:pt x="17025" y="1341"/>
                    <a:pt x="16750" y="1954"/>
                  </a:cubicBezTo>
                  <a:cubicBezTo>
                    <a:pt x="16306" y="1954"/>
                    <a:pt x="15862" y="2145"/>
                    <a:pt x="15545" y="2462"/>
                  </a:cubicBezTo>
                  <a:cubicBezTo>
                    <a:pt x="15037" y="2948"/>
                    <a:pt x="14720" y="3625"/>
                    <a:pt x="14657" y="4344"/>
                  </a:cubicBezTo>
                  <a:cubicBezTo>
                    <a:pt x="13070" y="5529"/>
                    <a:pt x="11653" y="6946"/>
                    <a:pt x="10511" y="8553"/>
                  </a:cubicBezTo>
                  <a:lnTo>
                    <a:pt x="10469" y="8638"/>
                  </a:lnTo>
                  <a:cubicBezTo>
                    <a:pt x="10321" y="8849"/>
                    <a:pt x="10236" y="9103"/>
                    <a:pt x="10194" y="9357"/>
                  </a:cubicBezTo>
                  <a:lnTo>
                    <a:pt x="10004" y="9568"/>
                  </a:lnTo>
                  <a:cubicBezTo>
                    <a:pt x="9792" y="9526"/>
                    <a:pt x="9581" y="9505"/>
                    <a:pt x="9369" y="9505"/>
                  </a:cubicBezTo>
                  <a:cubicBezTo>
                    <a:pt x="9311" y="9499"/>
                    <a:pt x="9252" y="9497"/>
                    <a:pt x="9194" y="9497"/>
                  </a:cubicBezTo>
                  <a:cubicBezTo>
                    <a:pt x="8793" y="9497"/>
                    <a:pt x="8412" y="9624"/>
                    <a:pt x="8079" y="9864"/>
                  </a:cubicBezTo>
                  <a:lnTo>
                    <a:pt x="7952" y="9822"/>
                  </a:lnTo>
                  <a:cubicBezTo>
                    <a:pt x="9052" y="6607"/>
                    <a:pt x="8587" y="5867"/>
                    <a:pt x="8417" y="5571"/>
                  </a:cubicBezTo>
                  <a:cubicBezTo>
                    <a:pt x="8206" y="5254"/>
                    <a:pt x="7868" y="5042"/>
                    <a:pt x="7487" y="5021"/>
                  </a:cubicBezTo>
                  <a:cubicBezTo>
                    <a:pt x="7416" y="5010"/>
                    <a:pt x="7345" y="5005"/>
                    <a:pt x="7275" y="5005"/>
                  </a:cubicBezTo>
                  <a:cubicBezTo>
                    <a:pt x="7073" y="5005"/>
                    <a:pt x="6877" y="5048"/>
                    <a:pt x="6704" y="5127"/>
                  </a:cubicBezTo>
                  <a:cubicBezTo>
                    <a:pt x="6641" y="5000"/>
                    <a:pt x="6556" y="4894"/>
                    <a:pt x="6472" y="4788"/>
                  </a:cubicBezTo>
                  <a:cubicBezTo>
                    <a:pt x="6218" y="4535"/>
                    <a:pt x="5901" y="4387"/>
                    <a:pt x="5562" y="4387"/>
                  </a:cubicBezTo>
                  <a:cubicBezTo>
                    <a:pt x="5538" y="4385"/>
                    <a:pt x="5514" y="4385"/>
                    <a:pt x="5491" y="4385"/>
                  </a:cubicBezTo>
                  <a:cubicBezTo>
                    <a:pt x="5139" y="4385"/>
                    <a:pt x="4826" y="4530"/>
                    <a:pt x="4568" y="4767"/>
                  </a:cubicBezTo>
                  <a:cubicBezTo>
                    <a:pt x="4526" y="4704"/>
                    <a:pt x="4463" y="4662"/>
                    <a:pt x="4399" y="4619"/>
                  </a:cubicBezTo>
                  <a:cubicBezTo>
                    <a:pt x="4188" y="4453"/>
                    <a:pt x="3934" y="4363"/>
                    <a:pt x="3667" y="4363"/>
                  </a:cubicBezTo>
                  <a:cubicBezTo>
                    <a:pt x="3560" y="4363"/>
                    <a:pt x="3451" y="4377"/>
                    <a:pt x="3342" y="4408"/>
                  </a:cubicBezTo>
                  <a:cubicBezTo>
                    <a:pt x="2982" y="4513"/>
                    <a:pt x="2665" y="4746"/>
                    <a:pt x="2475" y="5085"/>
                  </a:cubicBezTo>
                  <a:cubicBezTo>
                    <a:pt x="2275" y="4951"/>
                    <a:pt x="2049" y="4887"/>
                    <a:pt x="1825" y="4887"/>
                  </a:cubicBezTo>
                  <a:cubicBezTo>
                    <a:pt x="1551" y="4887"/>
                    <a:pt x="1278" y="4983"/>
                    <a:pt x="1057" y="5169"/>
                  </a:cubicBezTo>
                  <a:cubicBezTo>
                    <a:pt x="0" y="6036"/>
                    <a:pt x="508" y="9209"/>
                    <a:pt x="613" y="9822"/>
                  </a:cubicBezTo>
                  <a:cubicBezTo>
                    <a:pt x="825" y="11091"/>
                    <a:pt x="1544" y="13967"/>
                    <a:pt x="3405" y="14940"/>
                  </a:cubicBezTo>
                  <a:cubicBezTo>
                    <a:pt x="3722" y="15955"/>
                    <a:pt x="4145" y="16949"/>
                    <a:pt x="4653" y="17901"/>
                  </a:cubicBezTo>
                  <a:cubicBezTo>
                    <a:pt x="5816" y="19995"/>
                    <a:pt x="7677" y="21644"/>
                    <a:pt x="9940" y="22512"/>
                  </a:cubicBezTo>
                  <a:lnTo>
                    <a:pt x="10448" y="25198"/>
                  </a:lnTo>
                  <a:cubicBezTo>
                    <a:pt x="10511" y="25515"/>
                    <a:pt x="10680" y="25811"/>
                    <a:pt x="10934" y="26022"/>
                  </a:cubicBezTo>
                  <a:cubicBezTo>
                    <a:pt x="11759" y="26699"/>
                    <a:pt x="12351" y="27016"/>
                    <a:pt x="12838" y="27016"/>
                  </a:cubicBezTo>
                  <a:cubicBezTo>
                    <a:pt x="13049" y="27016"/>
                    <a:pt x="13261" y="26953"/>
                    <a:pt x="13430" y="26826"/>
                  </a:cubicBezTo>
                  <a:cubicBezTo>
                    <a:pt x="13515" y="26784"/>
                    <a:pt x="13599" y="26699"/>
                    <a:pt x="13663" y="26636"/>
                  </a:cubicBezTo>
                  <a:cubicBezTo>
                    <a:pt x="13793" y="26657"/>
                    <a:pt x="13908" y="26667"/>
                    <a:pt x="14010" y="26667"/>
                  </a:cubicBezTo>
                  <a:cubicBezTo>
                    <a:pt x="14404" y="26667"/>
                    <a:pt x="14598" y="26529"/>
                    <a:pt x="14699" y="26445"/>
                  </a:cubicBezTo>
                  <a:cubicBezTo>
                    <a:pt x="14889" y="26318"/>
                    <a:pt x="15037" y="26107"/>
                    <a:pt x="15080" y="25874"/>
                  </a:cubicBezTo>
                  <a:cubicBezTo>
                    <a:pt x="15479" y="26170"/>
                    <a:pt x="15889" y="26383"/>
                    <a:pt x="16280" y="26383"/>
                  </a:cubicBezTo>
                  <a:cubicBezTo>
                    <a:pt x="16448" y="26383"/>
                    <a:pt x="16613" y="26344"/>
                    <a:pt x="16772" y="26255"/>
                  </a:cubicBezTo>
                  <a:cubicBezTo>
                    <a:pt x="16856" y="26213"/>
                    <a:pt x="16920" y="26149"/>
                    <a:pt x="16983" y="26107"/>
                  </a:cubicBezTo>
                  <a:cubicBezTo>
                    <a:pt x="17086" y="26134"/>
                    <a:pt x="17191" y="26148"/>
                    <a:pt x="17296" y="26148"/>
                  </a:cubicBezTo>
                  <a:cubicBezTo>
                    <a:pt x="17513" y="26148"/>
                    <a:pt x="17728" y="26087"/>
                    <a:pt x="17914" y="25959"/>
                  </a:cubicBezTo>
                  <a:cubicBezTo>
                    <a:pt x="18210" y="25790"/>
                    <a:pt x="18358" y="25472"/>
                    <a:pt x="18337" y="25134"/>
                  </a:cubicBezTo>
                  <a:cubicBezTo>
                    <a:pt x="18337" y="25049"/>
                    <a:pt x="18315" y="24986"/>
                    <a:pt x="18294" y="24923"/>
                  </a:cubicBezTo>
                  <a:cubicBezTo>
                    <a:pt x="18337" y="24817"/>
                    <a:pt x="18358" y="24732"/>
                    <a:pt x="18358" y="24626"/>
                  </a:cubicBezTo>
                  <a:cubicBezTo>
                    <a:pt x="18421" y="23971"/>
                    <a:pt x="17914" y="23569"/>
                    <a:pt x="16793" y="23294"/>
                  </a:cubicBezTo>
                  <a:lnTo>
                    <a:pt x="16814" y="23040"/>
                  </a:lnTo>
                  <a:cubicBezTo>
                    <a:pt x="18506" y="22596"/>
                    <a:pt x="20071" y="21708"/>
                    <a:pt x="21298" y="20460"/>
                  </a:cubicBezTo>
                  <a:cubicBezTo>
                    <a:pt x="22989" y="20291"/>
                    <a:pt x="24089" y="19107"/>
                    <a:pt x="24195" y="17224"/>
                  </a:cubicBezTo>
                  <a:cubicBezTo>
                    <a:pt x="24216" y="16865"/>
                    <a:pt x="24195" y="16505"/>
                    <a:pt x="24132" y="16167"/>
                  </a:cubicBezTo>
                  <a:cubicBezTo>
                    <a:pt x="24829" y="15490"/>
                    <a:pt x="25231" y="14221"/>
                    <a:pt x="25422" y="13438"/>
                  </a:cubicBezTo>
                  <a:cubicBezTo>
                    <a:pt x="26225" y="13142"/>
                    <a:pt x="27473" y="12508"/>
                    <a:pt x="27177" y="11514"/>
                  </a:cubicBezTo>
                  <a:cubicBezTo>
                    <a:pt x="27050" y="11091"/>
                    <a:pt x="26648" y="10753"/>
                    <a:pt x="25760" y="10393"/>
                  </a:cubicBezTo>
                  <a:cubicBezTo>
                    <a:pt x="25718" y="8193"/>
                    <a:pt x="25041" y="6311"/>
                    <a:pt x="23793" y="4958"/>
                  </a:cubicBezTo>
                  <a:cubicBezTo>
                    <a:pt x="24110" y="4746"/>
                    <a:pt x="24385" y="4492"/>
                    <a:pt x="24576" y="4175"/>
                  </a:cubicBezTo>
                  <a:cubicBezTo>
                    <a:pt x="24956" y="3519"/>
                    <a:pt x="25041" y="2716"/>
                    <a:pt x="24808" y="1997"/>
                  </a:cubicBezTo>
                  <a:cubicBezTo>
                    <a:pt x="24531" y="812"/>
                    <a:pt x="23476" y="0"/>
                    <a:pt x="2229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1" name="Google Shape;251;p3"/>
            <p:cNvSpPr/>
            <p:nvPr/>
          </p:nvSpPr>
          <p:spPr>
            <a:xfrm rot="360229" flipH="1">
              <a:off x="7421009" y="4340833"/>
              <a:ext cx="383085" cy="500390"/>
            </a:xfrm>
            <a:custGeom>
              <a:avLst/>
              <a:gdLst/>
              <a:ahLst/>
              <a:cxnLst/>
              <a:rect l="l" t="t" r="r" b="b"/>
              <a:pathLst>
                <a:path w="4210" h="5499" extrusionOk="0">
                  <a:moveTo>
                    <a:pt x="1" y="1"/>
                  </a:moveTo>
                  <a:lnTo>
                    <a:pt x="825" y="4336"/>
                  </a:lnTo>
                  <a:cubicBezTo>
                    <a:pt x="847" y="4463"/>
                    <a:pt x="931" y="4611"/>
                    <a:pt x="1037" y="4696"/>
                  </a:cubicBezTo>
                  <a:cubicBezTo>
                    <a:pt x="1366" y="4971"/>
                    <a:pt x="2044" y="5499"/>
                    <a:pt x="2426" y="5499"/>
                  </a:cubicBezTo>
                  <a:cubicBezTo>
                    <a:pt x="2486" y="5499"/>
                    <a:pt x="2538" y="5486"/>
                    <a:pt x="2581" y="5457"/>
                  </a:cubicBezTo>
                  <a:cubicBezTo>
                    <a:pt x="2983" y="5204"/>
                    <a:pt x="1883" y="4548"/>
                    <a:pt x="1883" y="4548"/>
                  </a:cubicBezTo>
                  <a:lnTo>
                    <a:pt x="1883" y="4548"/>
                  </a:lnTo>
                  <a:cubicBezTo>
                    <a:pt x="1883" y="4548"/>
                    <a:pt x="3010" y="5174"/>
                    <a:pt x="3580" y="5174"/>
                  </a:cubicBezTo>
                  <a:cubicBezTo>
                    <a:pt x="3673" y="5174"/>
                    <a:pt x="3751" y="5157"/>
                    <a:pt x="3807" y="5119"/>
                  </a:cubicBezTo>
                  <a:cubicBezTo>
                    <a:pt x="4209" y="4823"/>
                    <a:pt x="2349" y="4146"/>
                    <a:pt x="2348" y="4146"/>
                  </a:cubicBezTo>
                  <a:lnTo>
                    <a:pt x="2348" y="4146"/>
                  </a:lnTo>
                  <a:cubicBezTo>
                    <a:pt x="2348" y="4146"/>
                    <a:pt x="3156" y="4396"/>
                    <a:pt x="3595" y="4396"/>
                  </a:cubicBezTo>
                  <a:cubicBezTo>
                    <a:pt x="3754" y="4396"/>
                    <a:pt x="3865" y="4363"/>
                    <a:pt x="3871" y="4273"/>
                  </a:cubicBezTo>
                  <a:cubicBezTo>
                    <a:pt x="3871" y="3850"/>
                    <a:pt x="2010" y="3681"/>
                    <a:pt x="2010" y="3681"/>
                  </a:cubicBezTo>
                  <a:lnTo>
                    <a:pt x="2010" y="4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2" name="Google Shape;252;p3"/>
            <p:cNvSpPr/>
            <p:nvPr/>
          </p:nvSpPr>
          <p:spPr>
            <a:xfrm rot="360229" flipH="1">
              <a:off x="7133529" y="4301354"/>
              <a:ext cx="319480" cy="450615"/>
            </a:xfrm>
            <a:custGeom>
              <a:avLst/>
              <a:gdLst/>
              <a:ahLst/>
              <a:cxnLst/>
              <a:rect l="l" t="t" r="r" b="b"/>
              <a:pathLst>
                <a:path w="3511" h="4952" extrusionOk="0">
                  <a:moveTo>
                    <a:pt x="0" y="0"/>
                  </a:moveTo>
                  <a:lnTo>
                    <a:pt x="550" y="3828"/>
                  </a:lnTo>
                  <a:cubicBezTo>
                    <a:pt x="571" y="3976"/>
                    <a:pt x="635" y="4103"/>
                    <a:pt x="740" y="4188"/>
                  </a:cubicBezTo>
                  <a:cubicBezTo>
                    <a:pt x="1023" y="4452"/>
                    <a:pt x="1609" y="4952"/>
                    <a:pt x="1942" y="4952"/>
                  </a:cubicBezTo>
                  <a:cubicBezTo>
                    <a:pt x="1983" y="4952"/>
                    <a:pt x="2020" y="4944"/>
                    <a:pt x="2052" y="4928"/>
                  </a:cubicBezTo>
                  <a:cubicBezTo>
                    <a:pt x="2432" y="4696"/>
                    <a:pt x="1482" y="4083"/>
                    <a:pt x="1481" y="4082"/>
                  </a:cubicBezTo>
                  <a:lnTo>
                    <a:pt x="1481" y="4082"/>
                  </a:lnTo>
                  <a:cubicBezTo>
                    <a:pt x="1482" y="4083"/>
                    <a:pt x="2450" y="4702"/>
                    <a:pt x="2956" y="4702"/>
                  </a:cubicBezTo>
                  <a:cubicBezTo>
                    <a:pt x="3034" y="4702"/>
                    <a:pt x="3101" y="4687"/>
                    <a:pt x="3151" y="4653"/>
                  </a:cubicBezTo>
                  <a:cubicBezTo>
                    <a:pt x="3511" y="4421"/>
                    <a:pt x="1904" y="3744"/>
                    <a:pt x="1904" y="3744"/>
                  </a:cubicBezTo>
                  <a:lnTo>
                    <a:pt x="1904" y="3744"/>
                  </a:lnTo>
                  <a:cubicBezTo>
                    <a:pt x="1904" y="3744"/>
                    <a:pt x="2674" y="4030"/>
                    <a:pt x="3044" y="4030"/>
                  </a:cubicBezTo>
                  <a:cubicBezTo>
                    <a:pt x="3156" y="4030"/>
                    <a:pt x="3231" y="4003"/>
                    <a:pt x="3236" y="3934"/>
                  </a:cubicBezTo>
                  <a:cubicBezTo>
                    <a:pt x="3257" y="3553"/>
                    <a:pt x="1629" y="3321"/>
                    <a:pt x="1629" y="3321"/>
                  </a:cubicBezTo>
                  <a:lnTo>
                    <a:pt x="1777" y="4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3" name="Google Shape;253;p3"/>
            <p:cNvSpPr/>
            <p:nvPr/>
          </p:nvSpPr>
          <p:spPr>
            <a:xfrm rot="360229" flipH="1">
              <a:off x="8081966" y="3008021"/>
              <a:ext cx="738872" cy="846541"/>
            </a:xfrm>
            <a:custGeom>
              <a:avLst/>
              <a:gdLst/>
              <a:ahLst/>
              <a:cxnLst/>
              <a:rect l="l" t="t" r="r" b="b"/>
              <a:pathLst>
                <a:path w="8120" h="9303" extrusionOk="0">
                  <a:moveTo>
                    <a:pt x="3066" y="0"/>
                  </a:moveTo>
                  <a:cubicBezTo>
                    <a:pt x="3025" y="0"/>
                    <a:pt x="2983" y="6"/>
                    <a:pt x="2938" y="18"/>
                  </a:cubicBezTo>
                  <a:cubicBezTo>
                    <a:pt x="2008" y="251"/>
                    <a:pt x="2198" y="2831"/>
                    <a:pt x="2198" y="2831"/>
                  </a:cubicBezTo>
                  <a:cubicBezTo>
                    <a:pt x="2198" y="2831"/>
                    <a:pt x="1948" y="512"/>
                    <a:pt x="1240" y="512"/>
                  </a:cubicBezTo>
                  <a:cubicBezTo>
                    <a:pt x="1151" y="512"/>
                    <a:pt x="1054" y="549"/>
                    <a:pt x="950" y="632"/>
                  </a:cubicBezTo>
                  <a:cubicBezTo>
                    <a:pt x="1" y="1370"/>
                    <a:pt x="777" y="9303"/>
                    <a:pt x="4075" y="9303"/>
                  </a:cubicBezTo>
                  <a:cubicBezTo>
                    <a:pt x="4084" y="9303"/>
                    <a:pt x="4093" y="9303"/>
                    <a:pt x="4101" y="9303"/>
                  </a:cubicBezTo>
                  <a:cubicBezTo>
                    <a:pt x="7401" y="9261"/>
                    <a:pt x="6132" y="5665"/>
                    <a:pt x="6132" y="5665"/>
                  </a:cubicBezTo>
                  <a:cubicBezTo>
                    <a:pt x="6132" y="5665"/>
                    <a:pt x="8120" y="758"/>
                    <a:pt x="6808" y="632"/>
                  </a:cubicBezTo>
                  <a:cubicBezTo>
                    <a:pt x="6775" y="628"/>
                    <a:pt x="6743" y="627"/>
                    <a:pt x="6712" y="627"/>
                  </a:cubicBezTo>
                  <a:cubicBezTo>
                    <a:pt x="5983" y="627"/>
                    <a:pt x="5669" y="1462"/>
                    <a:pt x="5534" y="2132"/>
                  </a:cubicBezTo>
                  <a:lnTo>
                    <a:pt x="5534" y="2132"/>
                  </a:lnTo>
                  <a:cubicBezTo>
                    <a:pt x="5605" y="1263"/>
                    <a:pt x="5594" y="18"/>
                    <a:pt x="4947" y="18"/>
                  </a:cubicBezTo>
                  <a:cubicBezTo>
                    <a:pt x="3932" y="18"/>
                    <a:pt x="3932" y="2281"/>
                    <a:pt x="3932" y="2281"/>
                  </a:cubicBezTo>
                  <a:cubicBezTo>
                    <a:pt x="3932" y="2281"/>
                    <a:pt x="3875" y="0"/>
                    <a:pt x="3066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4" name="Google Shape;254;p3"/>
            <p:cNvSpPr/>
            <p:nvPr/>
          </p:nvSpPr>
          <p:spPr>
            <a:xfrm rot="360229" flipH="1">
              <a:off x="6683646" y="3461545"/>
              <a:ext cx="705022" cy="721785"/>
            </a:xfrm>
            <a:custGeom>
              <a:avLst/>
              <a:gdLst/>
              <a:ahLst/>
              <a:cxnLst/>
              <a:rect l="l" t="t" r="r" b="b"/>
              <a:pathLst>
                <a:path w="7748" h="7932" extrusionOk="0">
                  <a:moveTo>
                    <a:pt x="2183" y="0"/>
                  </a:moveTo>
                  <a:cubicBezTo>
                    <a:pt x="2021" y="0"/>
                    <a:pt x="1871" y="17"/>
                    <a:pt x="1735" y="51"/>
                  </a:cubicBezTo>
                  <a:cubicBezTo>
                    <a:pt x="1" y="495"/>
                    <a:pt x="2073" y="2547"/>
                    <a:pt x="2073" y="2547"/>
                  </a:cubicBezTo>
                  <a:cubicBezTo>
                    <a:pt x="2073" y="2547"/>
                    <a:pt x="720" y="2885"/>
                    <a:pt x="762" y="3689"/>
                  </a:cubicBezTo>
                  <a:cubicBezTo>
                    <a:pt x="804" y="4492"/>
                    <a:pt x="2856" y="5127"/>
                    <a:pt x="2856" y="5127"/>
                  </a:cubicBezTo>
                  <a:cubicBezTo>
                    <a:pt x="2856" y="5127"/>
                    <a:pt x="2673" y="5093"/>
                    <a:pt x="2436" y="5093"/>
                  </a:cubicBezTo>
                  <a:cubicBezTo>
                    <a:pt x="1998" y="5093"/>
                    <a:pt x="1376" y="5209"/>
                    <a:pt x="1376" y="5867"/>
                  </a:cubicBezTo>
                  <a:cubicBezTo>
                    <a:pt x="1376" y="6861"/>
                    <a:pt x="2793" y="7453"/>
                    <a:pt x="4125" y="7834"/>
                  </a:cubicBezTo>
                  <a:cubicBezTo>
                    <a:pt x="4125" y="7834"/>
                    <a:pt x="4500" y="7932"/>
                    <a:pt x="5003" y="7932"/>
                  </a:cubicBezTo>
                  <a:cubicBezTo>
                    <a:pt x="5978" y="7932"/>
                    <a:pt x="7433" y="7564"/>
                    <a:pt x="7572" y="5402"/>
                  </a:cubicBezTo>
                  <a:cubicBezTo>
                    <a:pt x="7748" y="2377"/>
                    <a:pt x="4124" y="0"/>
                    <a:pt x="2183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5" name="Google Shape;255;p3"/>
            <p:cNvSpPr/>
            <p:nvPr/>
          </p:nvSpPr>
          <p:spPr>
            <a:xfrm rot="360229" flipH="1">
              <a:off x="6529453" y="2850169"/>
              <a:ext cx="2061563" cy="1647584"/>
            </a:xfrm>
            <a:custGeom>
              <a:avLst/>
              <a:gdLst/>
              <a:ahLst/>
              <a:cxnLst/>
              <a:rect l="l" t="t" r="r" b="b"/>
              <a:pathLst>
                <a:path w="22656" h="18106" extrusionOk="0">
                  <a:moveTo>
                    <a:pt x="15759" y="1"/>
                  </a:moveTo>
                  <a:cubicBezTo>
                    <a:pt x="11711" y="1"/>
                    <a:pt x="6900" y="6792"/>
                    <a:pt x="6900" y="6792"/>
                  </a:cubicBezTo>
                  <a:cubicBezTo>
                    <a:pt x="5601" y="6252"/>
                    <a:pt x="4454" y="5976"/>
                    <a:pt x="3527" y="5976"/>
                  </a:cubicBezTo>
                  <a:cubicBezTo>
                    <a:pt x="858" y="5976"/>
                    <a:pt x="1" y="8256"/>
                    <a:pt x="2543" y="13073"/>
                  </a:cubicBezTo>
                  <a:cubicBezTo>
                    <a:pt x="4198" y="16197"/>
                    <a:pt x="7802" y="18106"/>
                    <a:pt x="11397" y="18106"/>
                  </a:cubicBezTo>
                  <a:cubicBezTo>
                    <a:pt x="15105" y="18106"/>
                    <a:pt x="18804" y="16076"/>
                    <a:pt x="20351" y="11254"/>
                  </a:cubicBezTo>
                  <a:cubicBezTo>
                    <a:pt x="22656" y="4064"/>
                    <a:pt x="18828" y="320"/>
                    <a:pt x="16163" y="24"/>
                  </a:cubicBezTo>
                  <a:cubicBezTo>
                    <a:pt x="16029" y="8"/>
                    <a:pt x="15894" y="1"/>
                    <a:pt x="15759" y="1"/>
                  </a:cubicBezTo>
                  <a:close/>
                </a:path>
              </a:pathLst>
            </a:custGeom>
            <a:solidFill>
              <a:srgbClr val="D9D8B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6" name="Google Shape;256;p3"/>
            <p:cNvSpPr/>
            <p:nvPr/>
          </p:nvSpPr>
          <p:spPr>
            <a:xfrm rot="360229" flipH="1">
              <a:off x="6390896" y="2724724"/>
              <a:ext cx="1522422" cy="1118894"/>
            </a:xfrm>
            <a:custGeom>
              <a:avLst/>
              <a:gdLst/>
              <a:ahLst/>
              <a:cxnLst/>
              <a:rect l="l" t="t" r="r" b="b"/>
              <a:pathLst>
                <a:path w="16731" h="12296" extrusionOk="0">
                  <a:moveTo>
                    <a:pt x="8270" y="1"/>
                  </a:moveTo>
                  <a:cubicBezTo>
                    <a:pt x="4252" y="1"/>
                    <a:pt x="467" y="5436"/>
                    <a:pt x="467" y="5436"/>
                  </a:cubicBezTo>
                  <a:cubicBezTo>
                    <a:pt x="0" y="6304"/>
                    <a:pt x="535" y="6515"/>
                    <a:pt x="1167" y="6515"/>
                  </a:cubicBezTo>
                  <a:cubicBezTo>
                    <a:pt x="1767" y="6515"/>
                    <a:pt x="2455" y="6324"/>
                    <a:pt x="2455" y="6324"/>
                  </a:cubicBezTo>
                  <a:lnTo>
                    <a:pt x="2455" y="6324"/>
                  </a:lnTo>
                  <a:cubicBezTo>
                    <a:pt x="2455" y="6325"/>
                    <a:pt x="1165" y="8376"/>
                    <a:pt x="2603" y="8799"/>
                  </a:cubicBezTo>
                  <a:cubicBezTo>
                    <a:pt x="2738" y="8838"/>
                    <a:pt x="2866" y="8856"/>
                    <a:pt x="2988" y="8856"/>
                  </a:cubicBezTo>
                  <a:cubicBezTo>
                    <a:pt x="4178" y="8856"/>
                    <a:pt x="4718" y="7150"/>
                    <a:pt x="4718" y="7149"/>
                  </a:cubicBezTo>
                  <a:lnTo>
                    <a:pt x="4718" y="7149"/>
                  </a:lnTo>
                  <a:cubicBezTo>
                    <a:pt x="4718" y="7150"/>
                    <a:pt x="4083" y="10089"/>
                    <a:pt x="5437" y="10470"/>
                  </a:cubicBezTo>
                  <a:cubicBezTo>
                    <a:pt x="5535" y="10499"/>
                    <a:pt x="5630" y="10513"/>
                    <a:pt x="5723" y="10513"/>
                  </a:cubicBezTo>
                  <a:cubicBezTo>
                    <a:pt x="6898" y="10513"/>
                    <a:pt x="7679" y="8334"/>
                    <a:pt x="7679" y="8334"/>
                  </a:cubicBezTo>
                  <a:lnTo>
                    <a:pt x="7679" y="8334"/>
                  </a:lnTo>
                  <a:cubicBezTo>
                    <a:pt x="7679" y="8334"/>
                    <a:pt x="7171" y="11020"/>
                    <a:pt x="8482" y="11189"/>
                  </a:cubicBezTo>
                  <a:cubicBezTo>
                    <a:pt x="8526" y="11194"/>
                    <a:pt x="8569" y="11197"/>
                    <a:pt x="8612" y="11197"/>
                  </a:cubicBezTo>
                  <a:cubicBezTo>
                    <a:pt x="9841" y="11197"/>
                    <a:pt x="10217" y="8883"/>
                    <a:pt x="10217" y="8883"/>
                  </a:cubicBezTo>
                  <a:cubicBezTo>
                    <a:pt x="10217" y="8883"/>
                    <a:pt x="10337" y="12296"/>
                    <a:pt x="12318" y="12296"/>
                  </a:cubicBezTo>
                  <a:cubicBezTo>
                    <a:pt x="12371" y="12296"/>
                    <a:pt x="12425" y="12293"/>
                    <a:pt x="12480" y="12289"/>
                  </a:cubicBezTo>
                  <a:cubicBezTo>
                    <a:pt x="14066" y="12140"/>
                    <a:pt x="16731" y="1989"/>
                    <a:pt x="9307" y="128"/>
                  </a:cubicBezTo>
                  <a:cubicBezTo>
                    <a:pt x="8961" y="41"/>
                    <a:pt x="8615" y="1"/>
                    <a:pt x="8270" y="1"/>
                  </a:cubicBezTo>
                  <a:close/>
                </a:path>
              </a:pathLst>
            </a:custGeom>
            <a:solidFill>
              <a:srgbClr val="EDEC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7" name="Google Shape;257;p3"/>
            <p:cNvSpPr/>
            <p:nvPr/>
          </p:nvSpPr>
          <p:spPr>
            <a:xfrm rot="360229" flipH="1">
              <a:off x="7296457" y="3403218"/>
              <a:ext cx="893016" cy="760368"/>
            </a:xfrm>
            <a:custGeom>
              <a:avLst/>
              <a:gdLst/>
              <a:ahLst/>
              <a:cxnLst/>
              <a:rect l="l" t="t" r="r" b="b"/>
              <a:pathLst>
                <a:path w="9814" h="8356" extrusionOk="0">
                  <a:moveTo>
                    <a:pt x="2263" y="0"/>
                  </a:moveTo>
                  <a:cubicBezTo>
                    <a:pt x="0" y="0"/>
                    <a:pt x="2517" y="2433"/>
                    <a:pt x="2517" y="2433"/>
                  </a:cubicBezTo>
                  <a:cubicBezTo>
                    <a:pt x="2517" y="2433"/>
                    <a:pt x="762" y="2433"/>
                    <a:pt x="762" y="3194"/>
                  </a:cubicBezTo>
                  <a:cubicBezTo>
                    <a:pt x="762" y="3934"/>
                    <a:pt x="3321" y="5055"/>
                    <a:pt x="3321" y="5055"/>
                  </a:cubicBezTo>
                  <a:cubicBezTo>
                    <a:pt x="3321" y="5055"/>
                    <a:pt x="2724" y="4861"/>
                    <a:pt x="2195" y="4861"/>
                  </a:cubicBezTo>
                  <a:cubicBezTo>
                    <a:pt x="1784" y="4861"/>
                    <a:pt x="1415" y="4978"/>
                    <a:pt x="1396" y="5393"/>
                  </a:cubicBezTo>
                  <a:cubicBezTo>
                    <a:pt x="1333" y="6324"/>
                    <a:pt x="3067" y="7212"/>
                    <a:pt x="4759" y="7931"/>
                  </a:cubicBezTo>
                  <a:cubicBezTo>
                    <a:pt x="4759" y="7931"/>
                    <a:pt x="5830" y="8355"/>
                    <a:pt x="6937" y="8355"/>
                  </a:cubicBezTo>
                  <a:cubicBezTo>
                    <a:pt x="7987" y="8355"/>
                    <a:pt x="9069" y="7975"/>
                    <a:pt x="9306" y="6493"/>
                  </a:cubicBezTo>
                  <a:cubicBezTo>
                    <a:pt x="9814" y="3469"/>
                    <a:pt x="4526" y="0"/>
                    <a:pt x="2263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8" name="Google Shape;258;p3"/>
            <p:cNvSpPr/>
            <p:nvPr/>
          </p:nvSpPr>
          <p:spPr>
            <a:xfrm rot="360229" flipH="1">
              <a:off x="6454408" y="3313990"/>
              <a:ext cx="292910" cy="212841"/>
            </a:xfrm>
            <a:custGeom>
              <a:avLst/>
              <a:gdLst/>
              <a:ahLst/>
              <a:cxnLst/>
              <a:rect l="l" t="t" r="r" b="b"/>
              <a:pathLst>
                <a:path w="3219" h="2339" extrusionOk="0">
                  <a:moveTo>
                    <a:pt x="629" y="1"/>
                  </a:moveTo>
                  <a:cubicBezTo>
                    <a:pt x="0" y="1"/>
                    <a:pt x="78" y="1164"/>
                    <a:pt x="173" y="1867"/>
                  </a:cubicBezTo>
                  <a:cubicBezTo>
                    <a:pt x="211" y="2155"/>
                    <a:pt x="458" y="2338"/>
                    <a:pt x="741" y="2338"/>
                  </a:cubicBezTo>
                  <a:cubicBezTo>
                    <a:pt x="770" y="2338"/>
                    <a:pt x="799" y="2336"/>
                    <a:pt x="829" y="2332"/>
                  </a:cubicBezTo>
                  <a:cubicBezTo>
                    <a:pt x="1886" y="2163"/>
                    <a:pt x="3218" y="1486"/>
                    <a:pt x="3113" y="1106"/>
                  </a:cubicBezTo>
                  <a:cubicBezTo>
                    <a:pt x="2965" y="619"/>
                    <a:pt x="871" y="48"/>
                    <a:pt x="871" y="48"/>
                  </a:cubicBezTo>
                  <a:cubicBezTo>
                    <a:pt x="780" y="16"/>
                    <a:pt x="700" y="1"/>
                    <a:pt x="62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9" name="Google Shape;259;p3"/>
            <p:cNvSpPr/>
            <p:nvPr/>
          </p:nvSpPr>
          <p:spPr>
            <a:xfrm rot="360229" flipH="1">
              <a:off x="6843158" y="2890253"/>
              <a:ext cx="546602" cy="489471"/>
            </a:xfrm>
            <a:custGeom>
              <a:avLst/>
              <a:gdLst/>
              <a:ahLst/>
              <a:cxnLst/>
              <a:rect l="l" t="t" r="r" b="b"/>
              <a:pathLst>
                <a:path w="6007" h="5379" extrusionOk="0">
                  <a:moveTo>
                    <a:pt x="3000" y="1"/>
                  </a:moveTo>
                  <a:cubicBezTo>
                    <a:pt x="2230" y="1"/>
                    <a:pt x="1462" y="329"/>
                    <a:pt x="931" y="966"/>
                  </a:cubicBezTo>
                  <a:cubicBezTo>
                    <a:pt x="0" y="2108"/>
                    <a:pt x="148" y="3800"/>
                    <a:pt x="1290" y="4751"/>
                  </a:cubicBezTo>
                  <a:cubicBezTo>
                    <a:pt x="1786" y="5172"/>
                    <a:pt x="2393" y="5378"/>
                    <a:pt x="2999" y="5378"/>
                  </a:cubicBezTo>
                  <a:cubicBezTo>
                    <a:pt x="3763" y="5378"/>
                    <a:pt x="4524" y="5050"/>
                    <a:pt x="5055" y="4413"/>
                  </a:cubicBezTo>
                  <a:cubicBezTo>
                    <a:pt x="6007" y="3271"/>
                    <a:pt x="5859" y="1579"/>
                    <a:pt x="4717" y="627"/>
                  </a:cubicBezTo>
                  <a:cubicBezTo>
                    <a:pt x="4221" y="207"/>
                    <a:pt x="3610" y="1"/>
                    <a:pt x="300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0" name="Google Shape;260;p3"/>
            <p:cNvSpPr/>
            <p:nvPr/>
          </p:nvSpPr>
          <p:spPr>
            <a:xfrm rot="360229" flipH="1">
              <a:off x="6944326" y="3013424"/>
              <a:ext cx="349781" cy="222851"/>
            </a:xfrm>
            <a:custGeom>
              <a:avLst/>
              <a:gdLst/>
              <a:ahLst/>
              <a:cxnLst/>
              <a:rect l="l" t="t" r="r" b="b"/>
              <a:pathLst>
                <a:path w="3844" h="2449" extrusionOk="0">
                  <a:moveTo>
                    <a:pt x="1815" y="0"/>
                  </a:moveTo>
                  <a:cubicBezTo>
                    <a:pt x="992" y="0"/>
                    <a:pt x="251" y="553"/>
                    <a:pt x="37" y="1391"/>
                  </a:cubicBezTo>
                  <a:cubicBezTo>
                    <a:pt x="0" y="1539"/>
                    <a:pt x="113" y="1629"/>
                    <a:pt x="227" y="1629"/>
                  </a:cubicBezTo>
                  <a:cubicBezTo>
                    <a:pt x="309" y="1629"/>
                    <a:pt x="391" y="1582"/>
                    <a:pt x="418" y="1476"/>
                  </a:cubicBezTo>
                  <a:cubicBezTo>
                    <a:pt x="597" y="830"/>
                    <a:pt x="1188" y="397"/>
                    <a:pt x="1828" y="397"/>
                  </a:cubicBezTo>
                  <a:cubicBezTo>
                    <a:pt x="1942" y="397"/>
                    <a:pt x="2058" y="411"/>
                    <a:pt x="2173" y="440"/>
                  </a:cubicBezTo>
                  <a:cubicBezTo>
                    <a:pt x="2956" y="630"/>
                    <a:pt x="3421" y="1412"/>
                    <a:pt x="3231" y="2195"/>
                  </a:cubicBezTo>
                  <a:cubicBezTo>
                    <a:pt x="3188" y="2301"/>
                    <a:pt x="3252" y="2406"/>
                    <a:pt x="3358" y="2449"/>
                  </a:cubicBezTo>
                  <a:lnTo>
                    <a:pt x="3421" y="2449"/>
                  </a:lnTo>
                  <a:cubicBezTo>
                    <a:pt x="3506" y="2428"/>
                    <a:pt x="3569" y="2385"/>
                    <a:pt x="3590" y="2301"/>
                  </a:cubicBezTo>
                  <a:cubicBezTo>
                    <a:pt x="3844" y="1328"/>
                    <a:pt x="3252" y="313"/>
                    <a:pt x="2279" y="59"/>
                  </a:cubicBezTo>
                  <a:cubicBezTo>
                    <a:pt x="2123" y="19"/>
                    <a:pt x="1968" y="0"/>
                    <a:pt x="181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1" name="Google Shape;261;p3"/>
            <p:cNvSpPr/>
            <p:nvPr/>
          </p:nvSpPr>
          <p:spPr>
            <a:xfrm rot="360229" flipH="1">
              <a:off x="7157114" y="2881311"/>
              <a:ext cx="123206" cy="181720"/>
            </a:xfrm>
            <a:custGeom>
              <a:avLst/>
              <a:gdLst/>
              <a:ahLst/>
              <a:cxnLst/>
              <a:rect l="l" t="t" r="r" b="b"/>
              <a:pathLst>
                <a:path w="1354" h="1997" extrusionOk="0">
                  <a:moveTo>
                    <a:pt x="408" y="0"/>
                  </a:moveTo>
                  <a:cubicBezTo>
                    <a:pt x="318" y="0"/>
                    <a:pt x="229" y="54"/>
                    <a:pt x="212" y="178"/>
                  </a:cubicBezTo>
                  <a:cubicBezTo>
                    <a:pt x="0" y="1151"/>
                    <a:pt x="973" y="1912"/>
                    <a:pt x="1015" y="1954"/>
                  </a:cubicBezTo>
                  <a:cubicBezTo>
                    <a:pt x="1037" y="1975"/>
                    <a:pt x="1079" y="1997"/>
                    <a:pt x="1142" y="1997"/>
                  </a:cubicBezTo>
                  <a:cubicBezTo>
                    <a:pt x="1206" y="1997"/>
                    <a:pt x="1269" y="1954"/>
                    <a:pt x="1311" y="1912"/>
                  </a:cubicBezTo>
                  <a:cubicBezTo>
                    <a:pt x="1354" y="1806"/>
                    <a:pt x="1333" y="1701"/>
                    <a:pt x="1248" y="1637"/>
                  </a:cubicBezTo>
                  <a:cubicBezTo>
                    <a:pt x="1248" y="1616"/>
                    <a:pt x="444" y="1003"/>
                    <a:pt x="614" y="262"/>
                  </a:cubicBezTo>
                  <a:cubicBezTo>
                    <a:pt x="663" y="103"/>
                    <a:pt x="533" y="0"/>
                    <a:pt x="408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2" name="Google Shape;262;p3"/>
            <p:cNvSpPr/>
            <p:nvPr/>
          </p:nvSpPr>
          <p:spPr>
            <a:xfrm rot="360229" flipH="1">
              <a:off x="7227616" y="2916808"/>
              <a:ext cx="129030" cy="167525"/>
            </a:xfrm>
            <a:custGeom>
              <a:avLst/>
              <a:gdLst/>
              <a:ahLst/>
              <a:cxnLst/>
              <a:rect l="l" t="t" r="r" b="b"/>
              <a:pathLst>
                <a:path w="1418" h="1841" extrusionOk="0">
                  <a:moveTo>
                    <a:pt x="275" y="1"/>
                  </a:moveTo>
                  <a:cubicBezTo>
                    <a:pt x="148" y="1"/>
                    <a:pt x="64" y="85"/>
                    <a:pt x="64" y="191"/>
                  </a:cubicBezTo>
                  <a:cubicBezTo>
                    <a:pt x="0" y="1185"/>
                    <a:pt x="1058" y="1798"/>
                    <a:pt x="1100" y="1819"/>
                  </a:cubicBezTo>
                  <a:cubicBezTo>
                    <a:pt x="1121" y="1841"/>
                    <a:pt x="1163" y="1841"/>
                    <a:pt x="1184" y="1841"/>
                  </a:cubicBezTo>
                  <a:cubicBezTo>
                    <a:pt x="1269" y="1841"/>
                    <a:pt x="1332" y="1798"/>
                    <a:pt x="1375" y="1735"/>
                  </a:cubicBezTo>
                  <a:cubicBezTo>
                    <a:pt x="1417" y="1650"/>
                    <a:pt x="1375" y="1523"/>
                    <a:pt x="1290" y="1481"/>
                  </a:cubicBezTo>
                  <a:cubicBezTo>
                    <a:pt x="1290" y="1460"/>
                    <a:pt x="402" y="952"/>
                    <a:pt x="465" y="212"/>
                  </a:cubicBezTo>
                  <a:cubicBezTo>
                    <a:pt x="465" y="106"/>
                    <a:pt x="381" y="22"/>
                    <a:pt x="2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3" name="Google Shape;263;p3"/>
            <p:cNvSpPr/>
            <p:nvPr/>
          </p:nvSpPr>
          <p:spPr>
            <a:xfrm rot="360229" flipH="1">
              <a:off x="7245789" y="2997411"/>
              <a:ext cx="161788" cy="140954"/>
            </a:xfrm>
            <a:custGeom>
              <a:avLst/>
              <a:gdLst/>
              <a:ahLst/>
              <a:cxnLst/>
              <a:rect l="l" t="t" r="r" b="b"/>
              <a:pathLst>
                <a:path w="1778" h="1549" extrusionOk="0">
                  <a:moveTo>
                    <a:pt x="231" y="1"/>
                  </a:moveTo>
                  <a:cubicBezTo>
                    <a:pt x="218" y="1"/>
                    <a:pt x="204" y="2"/>
                    <a:pt x="191" y="5"/>
                  </a:cubicBezTo>
                  <a:cubicBezTo>
                    <a:pt x="64" y="26"/>
                    <a:pt x="1" y="132"/>
                    <a:pt x="22" y="237"/>
                  </a:cubicBezTo>
                  <a:cubicBezTo>
                    <a:pt x="212" y="1231"/>
                    <a:pt x="1396" y="1549"/>
                    <a:pt x="1460" y="1549"/>
                  </a:cubicBezTo>
                  <a:lnTo>
                    <a:pt x="1502" y="1549"/>
                  </a:lnTo>
                  <a:cubicBezTo>
                    <a:pt x="1735" y="1549"/>
                    <a:pt x="1777" y="1231"/>
                    <a:pt x="1544" y="1168"/>
                  </a:cubicBezTo>
                  <a:cubicBezTo>
                    <a:pt x="1544" y="1168"/>
                    <a:pt x="572" y="893"/>
                    <a:pt x="424" y="174"/>
                  </a:cubicBezTo>
                  <a:cubicBezTo>
                    <a:pt x="405" y="63"/>
                    <a:pt x="322" y="1"/>
                    <a:pt x="23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4" name="Google Shape;264;p3"/>
            <p:cNvSpPr/>
            <p:nvPr/>
          </p:nvSpPr>
          <p:spPr>
            <a:xfrm rot="360229" flipH="1">
              <a:off x="6718931" y="2468641"/>
              <a:ext cx="833415" cy="360711"/>
            </a:xfrm>
            <a:custGeom>
              <a:avLst/>
              <a:gdLst/>
              <a:ahLst/>
              <a:cxnLst/>
              <a:rect l="l" t="t" r="r" b="b"/>
              <a:pathLst>
                <a:path w="9159" h="3964" extrusionOk="0">
                  <a:moveTo>
                    <a:pt x="6886" y="0"/>
                  </a:moveTo>
                  <a:cubicBezTo>
                    <a:pt x="5855" y="0"/>
                    <a:pt x="4795" y="717"/>
                    <a:pt x="4844" y="1616"/>
                  </a:cubicBezTo>
                  <a:cubicBezTo>
                    <a:pt x="4519" y="1074"/>
                    <a:pt x="3947" y="763"/>
                    <a:pt x="3339" y="763"/>
                  </a:cubicBezTo>
                  <a:cubicBezTo>
                    <a:pt x="3235" y="763"/>
                    <a:pt x="3130" y="772"/>
                    <a:pt x="3025" y="791"/>
                  </a:cubicBezTo>
                  <a:cubicBezTo>
                    <a:pt x="2348" y="897"/>
                    <a:pt x="1883" y="1552"/>
                    <a:pt x="2010" y="2229"/>
                  </a:cubicBezTo>
                  <a:cubicBezTo>
                    <a:pt x="1841" y="2039"/>
                    <a:pt x="1603" y="1944"/>
                    <a:pt x="1365" y="1944"/>
                  </a:cubicBezTo>
                  <a:cubicBezTo>
                    <a:pt x="1127" y="1944"/>
                    <a:pt x="889" y="2039"/>
                    <a:pt x="720" y="2229"/>
                  </a:cubicBezTo>
                  <a:cubicBezTo>
                    <a:pt x="1" y="2885"/>
                    <a:pt x="64" y="3963"/>
                    <a:pt x="64" y="3963"/>
                  </a:cubicBezTo>
                  <a:cubicBezTo>
                    <a:pt x="64" y="3963"/>
                    <a:pt x="1666" y="2878"/>
                    <a:pt x="3318" y="2878"/>
                  </a:cubicBezTo>
                  <a:cubicBezTo>
                    <a:pt x="3467" y="2878"/>
                    <a:pt x="3617" y="2887"/>
                    <a:pt x="3765" y="2906"/>
                  </a:cubicBezTo>
                  <a:cubicBezTo>
                    <a:pt x="3765" y="2906"/>
                    <a:pt x="4709" y="3907"/>
                    <a:pt x="6559" y="3907"/>
                  </a:cubicBezTo>
                  <a:cubicBezTo>
                    <a:pt x="6648" y="3907"/>
                    <a:pt x="6739" y="3905"/>
                    <a:pt x="6832" y="3900"/>
                  </a:cubicBezTo>
                  <a:cubicBezTo>
                    <a:pt x="6917" y="3900"/>
                    <a:pt x="6980" y="3879"/>
                    <a:pt x="7065" y="3879"/>
                  </a:cubicBezTo>
                  <a:cubicBezTo>
                    <a:pt x="7551" y="3773"/>
                    <a:pt x="9158" y="3286"/>
                    <a:pt x="8672" y="1404"/>
                  </a:cubicBezTo>
                  <a:cubicBezTo>
                    <a:pt x="8402" y="395"/>
                    <a:pt x="7652" y="0"/>
                    <a:pt x="68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5" name="Google Shape;265;p3"/>
            <p:cNvSpPr/>
            <p:nvPr/>
          </p:nvSpPr>
          <p:spPr>
            <a:xfrm>
              <a:off x="6727787" y="393494"/>
              <a:ext cx="515383" cy="493902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6" name="Google Shape;266;p3"/>
            <p:cNvSpPr/>
            <p:nvPr/>
          </p:nvSpPr>
          <p:spPr>
            <a:xfrm>
              <a:off x="6725625" y="397132"/>
              <a:ext cx="516825" cy="49362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7" name="Google Shape;267;p3"/>
            <p:cNvSpPr/>
            <p:nvPr/>
          </p:nvSpPr>
          <p:spPr>
            <a:xfrm>
              <a:off x="6777899" y="442958"/>
              <a:ext cx="404324" cy="386808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8" name="Google Shape;268;p3"/>
            <p:cNvSpPr/>
            <p:nvPr/>
          </p:nvSpPr>
          <p:spPr>
            <a:xfrm>
              <a:off x="6767739" y="457924"/>
              <a:ext cx="266392" cy="378262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9" name="Google Shape;269;p3"/>
            <p:cNvSpPr/>
            <p:nvPr/>
          </p:nvSpPr>
          <p:spPr>
            <a:xfrm>
              <a:off x="6727787" y="393476"/>
              <a:ext cx="515383" cy="493902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0" name="Google Shape;270;p3"/>
            <p:cNvSpPr/>
            <p:nvPr/>
          </p:nvSpPr>
          <p:spPr>
            <a:xfrm>
              <a:off x="6725625" y="397115"/>
              <a:ext cx="516825" cy="49362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1" name="Google Shape;271;p3"/>
            <p:cNvSpPr/>
            <p:nvPr/>
          </p:nvSpPr>
          <p:spPr>
            <a:xfrm>
              <a:off x="6777899" y="442941"/>
              <a:ext cx="404324" cy="386808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2" name="Google Shape;272;p3"/>
            <p:cNvSpPr/>
            <p:nvPr/>
          </p:nvSpPr>
          <p:spPr>
            <a:xfrm>
              <a:off x="6777899" y="465908"/>
              <a:ext cx="256282" cy="363853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3" name="Google Shape;273;p3"/>
            <p:cNvSpPr/>
            <p:nvPr/>
          </p:nvSpPr>
          <p:spPr>
            <a:xfrm>
              <a:off x="516599" y="2417488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4" name="Google Shape;274;p3"/>
            <p:cNvSpPr/>
            <p:nvPr/>
          </p:nvSpPr>
          <p:spPr>
            <a:xfrm>
              <a:off x="514937" y="2420285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5" name="Google Shape;275;p3"/>
            <p:cNvSpPr/>
            <p:nvPr/>
          </p:nvSpPr>
          <p:spPr>
            <a:xfrm>
              <a:off x="555115" y="2455505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6" name="Google Shape;276;p3"/>
            <p:cNvSpPr/>
            <p:nvPr/>
          </p:nvSpPr>
          <p:spPr>
            <a:xfrm>
              <a:off x="547306" y="2467008"/>
              <a:ext cx="204742" cy="29073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7" name="Google Shape;277;p3"/>
            <p:cNvSpPr/>
            <p:nvPr/>
          </p:nvSpPr>
          <p:spPr>
            <a:xfrm>
              <a:off x="516599" y="2417475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8" name="Google Shape;278;p3"/>
            <p:cNvSpPr/>
            <p:nvPr/>
          </p:nvSpPr>
          <p:spPr>
            <a:xfrm>
              <a:off x="514937" y="2420272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9" name="Google Shape;279;p3"/>
            <p:cNvSpPr/>
            <p:nvPr/>
          </p:nvSpPr>
          <p:spPr>
            <a:xfrm>
              <a:off x="555115" y="2455492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0" name="Google Shape;280;p3"/>
            <p:cNvSpPr/>
            <p:nvPr/>
          </p:nvSpPr>
          <p:spPr>
            <a:xfrm>
              <a:off x="555115" y="2473145"/>
              <a:ext cx="196980" cy="27966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81" name="Google Shape;281;p3"/>
          <p:cNvGrpSpPr/>
          <p:nvPr/>
        </p:nvGrpSpPr>
        <p:grpSpPr>
          <a:xfrm>
            <a:off x="-467130" y="445433"/>
            <a:ext cx="12732503" cy="2134667"/>
            <a:chOff x="-350348" y="334075"/>
            <a:chExt cx="9549377" cy="1601000"/>
          </a:xfrm>
        </p:grpSpPr>
        <p:sp>
          <p:nvSpPr>
            <p:cNvPr id="282" name="Google Shape;282;p3"/>
            <p:cNvSpPr/>
            <p:nvPr/>
          </p:nvSpPr>
          <p:spPr>
            <a:xfrm>
              <a:off x="7332213" y="981025"/>
              <a:ext cx="1866816" cy="954050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3" name="Google Shape;283;p3"/>
            <p:cNvSpPr/>
            <p:nvPr/>
          </p:nvSpPr>
          <p:spPr>
            <a:xfrm>
              <a:off x="-350348" y="334075"/>
              <a:ext cx="2859882" cy="1461564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4622227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userDrawn="1">
  <p:cSld name="Title and body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35465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4"/>
          <p:cNvSpPr txBox="1">
            <a:spLocks noGrp="1"/>
          </p:cNvSpPr>
          <p:nvPr>
            <p:ph type="body" idx="1"/>
          </p:nvPr>
        </p:nvSpPr>
        <p:spPr>
          <a:xfrm>
            <a:off x="801900" y="1267867"/>
            <a:ext cx="10632400" cy="51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Livvic"/>
              <a:buAutoNum type="arabicPeriod"/>
              <a:defRPr sz="16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9pPr>
          </a:lstStyle>
          <a:p>
            <a:endParaRPr/>
          </a:p>
        </p:txBody>
      </p:sp>
      <p:sp>
        <p:nvSpPr>
          <p:cNvPr id="286" name="Google Shape;286;p4"/>
          <p:cNvSpPr txBox="1">
            <a:spLocks noGrp="1"/>
          </p:cNvSpPr>
          <p:nvPr>
            <p:ph type="title"/>
          </p:nvPr>
        </p:nvSpPr>
        <p:spPr>
          <a:xfrm>
            <a:off x="801900" y="458533"/>
            <a:ext cx="9926400" cy="86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grpSp>
        <p:nvGrpSpPr>
          <p:cNvPr id="287" name="Google Shape;287;p4"/>
          <p:cNvGrpSpPr/>
          <p:nvPr/>
        </p:nvGrpSpPr>
        <p:grpSpPr>
          <a:xfrm>
            <a:off x="145133" y="5971567"/>
            <a:ext cx="694283" cy="667052"/>
            <a:chOff x="108850" y="4478675"/>
            <a:chExt cx="520712" cy="500289"/>
          </a:xfrm>
        </p:grpSpPr>
        <p:sp>
          <p:nvSpPr>
            <p:cNvPr id="288" name="Google Shape;288;p4"/>
            <p:cNvSpPr/>
            <p:nvPr/>
          </p:nvSpPr>
          <p:spPr>
            <a:xfrm>
              <a:off x="111025" y="4478692"/>
              <a:ext cx="518537" cy="49688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9" name="Google Shape;289;p4"/>
            <p:cNvSpPr/>
            <p:nvPr/>
          </p:nvSpPr>
          <p:spPr>
            <a:xfrm>
              <a:off x="108850" y="4482353"/>
              <a:ext cx="519987" cy="496612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0" name="Google Shape;290;p4"/>
            <p:cNvSpPr/>
            <p:nvPr/>
          </p:nvSpPr>
          <p:spPr>
            <a:xfrm>
              <a:off x="161440" y="4528452"/>
              <a:ext cx="406798" cy="389147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1" name="Google Shape;291;p4"/>
            <p:cNvSpPr/>
            <p:nvPr/>
          </p:nvSpPr>
          <p:spPr>
            <a:xfrm>
              <a:off x="151219" y="4543508"/>
              <a:ext cx="268022" cy="380548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2" name="Google Shape;292;p4"/>
            <p:cNvSpPr/>
            <p:nvPr/>
          </p:nvSpPr>
          <p:spPr>
            <a:xfrm>
              <a:off x="111025" y="4478675"/>
              <a:ext cx="518537" cy="49688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3" name="Google Shape;293;p4"/>
            <p:cNvSpPr/>
            <p:nvPr/>
          </p:nvSpPr>
          <p:spPr>
            <a:xfrm>
              <a:off x="108850" y="4482335"/>
              <a:ext cx="519987" cy="496612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4" name="Google Shape;294;p4"/>
            <p:cNvSpPr/>
            <p:nvPr/>
          </p:nvSpPr>
          <p:spPr>
            <a:xfrm>
              <a:off x="161440" y="4528435"/>
              <a:ext cx="406798" cy="389147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5" name="Google Shape;295;p4"/>
            <p:cNvSpPr/>
            <p:nvPr/>
          </p:nvSpPr>
          <p:spPr>
            <a:xfrm>
              <a:off x="161440" y="4551540"/>
              <a:ext cx="257815" cy="366029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96" name="Google Shape;296;p4"/>
          <p:cNvSpPr/>
          <p:nvPr/>
        </p:nvSpPr>
        <p:spPr>
          <a:xfrm>
            <a:off x="9490352" y="186533"/>
            <a:ext cx="2218913" cy="113399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Google Shape;27;p2"/>
          <p:cNvSpPr/>
          <p:nvPr userDrawn="1"/>
        </p:nvSpPr>
        <p:spPr>
          <a:xfrm>
            <a:off x="-786148" y="5056741"/>
            <a:ext cx="7797005" cy="1986148"/>
          </a:xfrm>
          <a:custGeom>
            <a:avLst/>
            <a:gdLst/>
            <a:ahLst/>
            <a:cxnLst/>
            <a:rect l="l" t="t" r="r" b="b"/>
            <a:pathLst>
              <a:path w="49766" h="12677" extrusionOk="0">
                <a:moveTo>
                  <a:pt x="13886" y="0"/>
                </a:moveTo>
                <a:cubicBezTo>
                  <a:pt x="3627" y="0"/>
                  <a:pt x="1" y="1911"/>
                  <a:pt x="1" y="1911"/>
                </a:cubicBezTo>
                <a:lnTo>
                  <a:pt x="1" y="12676"/>
                </a:lnTo>
                <a:lnTo>
                  <a:pt x="49765" y="12676"/>
                </a:lnTo>
                <a:lnTo>
                  <a:pt x="49765" y="5422"/>
                </a:lnTo>
                <a:cubicBezTo>
                  <a:pt x="49765" y="5422"/>
                  <a:pt x="46952" y="3222"/>
                  <a:pt x="27474" y="896"/>
                </a:cubicBezTo>
                <a:cubicBezTo>
                  <a:pt x="22017" y="241"/>
                  <a:pt x="17532" y="0"/>
                  <a:pt x="13886" y="0"/>
                </a:cubicBezTo>
                <a:close/>
              </a:path>
            </a:pathLst>
          </a:custGeom>
          <a:solidFill>
            <a:srgbClr val="30AE1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" name="Google Shape;54;p2"/>
          <p:cNvSpPr/>
          <p:nvPr userDrawn="1"/>
        </p:nvSpPr>
        <p:spPr>
          <a:xfrm>
            <a:off x="5016819" y="5074047"/>
            <a:ext cx="8334880" cy="2535935"/>
          </a:xfrm>
          <a:custGeom>
            <a:avLst/>
            <a:gdLst/>
            <a:ahLst/>
            <a:cxnLst/>
            <a:rect l="l" t="t" r="r" b="b"/>
            <a:pathLst>
              <a:path w="55243" h="16808" extrusionOk="0">
                <a:moveTo>
                  <a:pt x="44598" y="0"/>
                </a:moveTo>
                <a:cubicBezTo>
                  <a:pt x="40584" y="0"/>
                  <a:pt x="35338" y="325"/>
                  <a:pt x="28700" y="1326"/>
                </a:cubicBezTo>
                <a:cubicBezTo>
                  <a:pt x="9793" y="4203"/>
                  <a:pt x="1" y="12958"/>
                  <a:pt x="1" y="12958"/>
                </a:cubicBezTo>
                <a:lnTo>
                  <a:pt x="55243" y="16808"/>
                </a:lnTo>
                <a:lnTo>
                  <a:pt x="55243" y="1115"/>
                </a:lnTo>
                <a:cubicBezTo>
                  <a:pt x="55243" y="1115"/>
                  <a:pt x="52032" y="0"/>
                  <a:pt x="44598" y="0"/>
                </a:cubicBezTo>
                <a:close/>
              </a:path>
            </a:pathLst>
          </a:custGeom>
          <a:solidFill>
            <a:srgbClr val="62EC4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482301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p9"/>
          <p:cNvSpPr txBox="1">
            <a:spLocks noGrp="1"/>
          </p:cNvSpPr>
          <p:nvPr>
            <p:ph type="subTitle" idx="1"/>
          </p:nvPr>
        </p:nvSpPr>
        <p:spPr>
          <a:xfrm>
            <a:off x="951767" y="2549800"/>
            <a:ext cx="5206000" cy="264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01" name="Google Shape;401;p9"/>
          <p:cNvSpPr txBox="1">
            <a:spLocks noGrp="1"/>
          </p:cNvSpPr>
          <p:nvPr>
            <p:ph type="title"/>
          </p:nvPr>
        </p:nvSpPr>
        <p:spPr>
          <a:xfrm>
            <a:off x="951767" y="1618000"/>
            <a:ext cx="4468800" cy="84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b="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02" name="Google Shape;402;p9"/>
          <p:cNvSpPr/>
          <p:nvPr/>
        </p:nvSpPr>
        <p:spPr>
          <a:xfrm>
            <a:off x="-228917" y="325461"/>
            <a:ext cx="1880097" cy="960763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403" name="Google Shape;403;p9"/>
          <p:cNvGrpSpPr/>
          <p:nvPr/>
        </p:nvGrpSpPr>
        <p:grpSpPr>
          <a:xfrm>
            <a:off x="10612575" y="394816"/>
            <a:ext cx="1256331" cy="1235835"/>
            <a:chOff x="-5347494" y="23412"/>
            <a:chExt cx="942248" cy="926876"/>
          </a:xfrm>
        </p:grpSpPr>
        <p:sp>
          <p:nvSpPr>
            <p:cNvPr id="404" name="Google Shape;404;p9"/>
            <p:cNvSpPr/>
            <p:nvPr/>
          </p:nvSpPr>
          <p:spPr>
            <a:xfrm rot="-1149761">
              <a:off x="-5249480" y="126183"/>
              <a:ext cx="746843" cy="71572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5" name="Google Shape;405;p9"/>
            <p:cNvSpPr/>
            <p:nvPr/>
          </p:nvSpPr>
          <p:spPr>
            <a:xfrm rot="-1149761">
              <a:off x="-5250832" y="131860"/>
              <a:ext cx="748932" cy="71532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6" name="Google Shape;406;p9"/>
            <p:cNvSpPr/>
            <p:nvPr/>
          </p:nvSpPr>
          <p:spPr>
            <a:xfrm rot="-1149761">
              <a:off x="-5178376" y="200768"/>
              <a:ext cx="585907" cy="560533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7" name="Google Shape;407;p9"/>
            <p:cNvSpPr/>
            <p:nvPr/>
          </p:nvSpPr>
          <p:spPr>
            <a:xfrm rot="-1149761">
              <a:off x="-5181659" y="259234"/>
              <a:ext cx="386029" cy="548147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8" name="Google Shape;408;p9"/>
            <p:cNvSpPr/>
            <p:nvPr/>
          </p:nvSpPr>
          <p:spPr>
            <a:xfrm rot="-1149761">
              <a:off x="-5249488" y="126160"/>
              <a:ext cx="746843" cy="71572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9" name="Google Shape;409;p9"/>
            <p:cNvSpPr/>
            <p:nvPr/>
          </p:nvSpPr>
          <p:spPr>
            <a:xfrm rot="-1149761">
              <a:off x="-5250841" y="131837"/>
              <a:ext cx="748932" cy="71532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0" name="Google Shape;410;p9"/>
            <p:cNvSpPr/>
            <p:nvPr/>
          </p:nvSpPr>
          <p:spPr>
            <a:xfrm rot="-1149761">
              <a:off x="-5178384" y="200744"/>
              <a:ext cx="585907" cy="560533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1" name="Google Shape;411;p9"/>
            <p:cNvSpPr/>
            <p:nvPr/>
          </p:nvSpPr>
          <p:spPr>
            <a:xfrm rot="-1149612">
              <a:off x="-5166990" y="268329"/>
              <a:ext cx="371356" cy="527227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8546109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2"/>
          <p:cNvSpPr/>
          <p:nvPr/>
        </p:nvSpPr>
        <p:spPr>
          <a:xfrm rot="1356523" flipH="1">
            <a:off x="9812640" y="-138396"/>
            <a:ext cx="15520" cy="46096"/>
          </a:xfrm>
          <a:custGeom>
            <a:avLst/>
            <a:gdLst/>
            <a:ahLst/>
            <a:cxnLst/>
            <a:rect l="l" t="t" r="r" b="b"/>
            <a:pathLst>
              <a:path w="368" h="1093" extrusionOk="0">
                <a:moveTo>
                  <a:pt x="334" y="0"/>
                </a:moveTo>
                <a:cubicBezTo>
                  <a:pt x="368" y="200"/>
                  <a:pt x="334" y="367"/>
                  <a:pt x="301" y="567"/>
                </a:cubicBezTo>
                <a:cubicBezTo>
                  <a:pt x="268" y="734"/>
                  <a:pt x="168" y="901"/>
                  <a:pt x="34" y="1034"/>
                </a:cubicBezTo>
                <a:cubicBezTo>
                  <a:pt x="1" y="1034"/>
                  <a:pt x="1" y="1067"/>
                  <a:pt x="34" y="1067"/>
                </a:cubicBezTo>
                <a:cubicBezTo>
                  <a:pt x="34" y="1084"/>
                  <a:pt x="34" y="1092"/>
                  <a:pt x="38" y="1092"/>
                </a:cubicBezTo>
                <a:cubicBezTo>
                  <a:pt x="43" y="1092"/>
                  <a:pt x="51" y="1084"/>
                  <a:pt x="68" y="1067"/>
                </a:cubicBezTo>
                <a:cubicBezTo>
                  <a:pt x="201" y="934"/>
                  <a:pt x="301" y="767"/>
                  <a:pt x="334" y="567"/>
                </a:cubicBezTo>
                <a:cubicBezTo>
                  <a:pt x="368" y="367"/>
                  <a:pt x="368" y="200"/>
                  <a:pt x="334" y="0"/>
                </a:cubicBezTo>
                <a:close/>
              </a:path>
            </a:pathLst>
          </a:custGeom>
          <a:solidFill>
            <a:srgbClr val="11675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8" name="Google Shape;478;p12"/>
          <p:cNvSpPr/>
          <p:nvPr/>
        </p:nvSpPr>
        <p:spPr>
          <a:xfrm>
            <a:off x="8993743" y="6938530"/>
            <a:ext cx="652357" cy="71767"/>
          </a:xfrm>
          <a:custGeom>
            <a:avLst/>
            <a:gdLst/>
            <a:ahLst/>
            <a:cxnLst/>
            <a:rect l="l" t="t" r="r" b="b"/>
            <a:pathLst>
              <a:path w="16446" h="2069" extrusionOk="0">
                <a:moveTo>
                  <a:pt x="0" y="0"/>
                </a:moveTo>
                <a:lnTo>
                  <a:pt x="0" y="2069"/>
                </a:lnTo>
                <a:lnTo>
                  <a:pt x="16445" y="2069"/>
                </a:lnTo>
                <a:lnTo>
                  <a:pt x="1644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8944878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 ">
  <p:cSld name="Table of contents ">
    <p:spTree>
      <p:nvGrpSpPr>
        <p:cNvPr id="1" name="Shape 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Google Shape;480;p13"/>
          <p:cNvSpPr/>
          <p:nvPr/>
        </p:nvSpPr>
        <p:spPr>
          <a:xfrm rot="1356523" flipH="1">
            <a:off x="9812640" y="-138396"/>
            <a:ext cx="15520" cy="46096"/>
          </a:xfrm>
          <a:custGeom>
            <a:avLst/>
            <a:gdLst/>
            <a:ahLst/>
            <a:cxnLst/>
            <a:rect l="l" t="t" r="r" b="b"/>
            <a:pathLst>
              <a:path w="368" h="1093" extrusionOk="0">
                <a:moveTo>
                  <a:pt x="334" y="0"/>
                </a:moveTo>
                <a:cubicBezTo>
                  <a:pt x="368" y="200"/>
                  <a:pt x="334" y="367"/>
                  <a:pt x="301" y="567"/>
                </a:cubicBezTo>
                <a:cubicBezTo>
                  <a:pt x="268" y="734"/>
                  <a:pt x="168" y="901"/>
                  <a:pt x="34" y="1034"/>
                </a:cubicBezTo>
                <a:cubicBezTo>
                  <a:pt x="1" y="1034"/>
                  <a:pt x="1" y="1067"/>
                  <a:pt x="34" y="1067"/>
                </a:cubicBezTo>
                <a:cubicBezTo>
                  <a:pt x="34" y="1084"/>
                  <a:pt x="34" y="1092"/>
                  <a:pt x="38" y="1092"/>
                </a:cubicBezTo>
                <a:cubicBezTo>
                  <a:pt x="43" y="1092"/>
                  <a:pt x="51" y="1084"/>
                  <a:pt x="68" y="1067"/>
                </a:cubicBezTo>
                <a:cubicBezTo>
                  <a:pt x="201" y="934"/>
                  <a:pt x="301" y="767"/>
                  <a:pt x="334" y="567"/>
                </a:cubicBezTo>
                <a:cubicBezTo>
                  <a:pt x="368" y="367"/>
                  <a:pt x="368" y="200"/>
                  <a:pt x="334" y="0"/>
                </a:cubicBezTo>
                <a:close/>
              </a:path>
            </a:pathLst>
          </a:custGeom>
          <a:solidFill>
            <a:srgbClr val="11675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1" name="Google Shape;481;p13"/>
          <p:cNvSpPr txBox="1">
            <a:spLocks noGrp="1"/>
          </p:cNvSpPr>
          <p:nvPr>
            <p:ph type="title"/>
          </p:nvPr>
        </p:nvSpPr>
        <p:spPr>
          <a:xfrm>
            <a:off x="5799167" y="1135667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82" name="Google Shape;482;p13"/>
          <p:cNvSpPr txBox="1">
            <a:spLocks noGrp="1"/>
          </p:cNvSpPr>
          <p:nvPr>
            <p:ph type="subTitle" idx="1"/>
          </p:nvPr>
        </p:nvSpPr>
        <p:spPr>
          <a:xfrm>
            <a:off x="5799167" y="1644267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83" name="Google Shape;483;p13"/>
          <p:cNvSpPr txBox="1">
            <a:spLocks noGrp="1"/>
          </p:cNvSpPr>
          <p:nvPr>
            <p:ph type="title" idx="2" hasCustomPrompt="1"/>
          </p:nvPr>
        </p:nvSpPr>
        <p:spPr>
          <a:xfrm>
            <a:off x="4547700" y="1186551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sp>
        <p:nvSpPr>
          <p:cNvPr id="484" name="Google Shape;484;p13"/>
          <p:cNvSpPr txBox="1">
            <a:spLocks noGrp="1"/>
          </p:cNvSpPr>
          <p:nvPr>
            <p:ph type="title" idx="3"/>
          </p:nvPr>
        </p:nvSpPr>
        <p:spPr>
          <a:xfrm>
            <a:off x="801900" y="458533"/>
            <a:ext cx="4077600" cy="141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485" name="Google Shape;485;p13"/>
          <p:cNvSpPr txBox="1">
            <a:spLocks noGrp="1"/>
          </p:cNvSpPr>
          <p:nvPr>
            <p:ph type="title" idx="4"/>
          </p:nvPr>
        </p:nvSpPr>
        <p:spPr>
          <a:xfrm>
            <a:off x="5799167" y="2136767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86" name="Google Shape;486;p13"/>
          <p:cNvSpPr txBox="1">
            <a:spLocks noGrp="1"/>
          </p:cNvSpPr>
          <p:nvPr>
            <p:ph type="subTitle" idx="5"/>
          </p:nvPr>
        </p:nvSpPr>
        <p:spPr>
          <a:xfrm>
            <a:off x="5799167" y="2644200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87" name="Google Shape;487;p13"/>
          <p:cNvSpPr txBox="1">
            <a:spLocks noGrp="1"/>
          </p:cNvSpPr>
          <p:nvPr>
            <p:ph type="title" idx="6" hasCustomPrompt="1"/>
          </p:nvPr>
        </p:nvSpPr>
        <p:spPr>
          <a:xfrm>
            <a:off x="4547700" y="2189904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sp>
        <p:nvSpPr>
          <p:cNvPr id="488" name="Google Shape;488;p13"/>
          <p:cNvSpPr txBox="1">
            <a:spLocks noGrp="1"/>
          </p:cNvSpPr>
          <p:nvPr>
            <p:ph type="title" idx="7"/>
          </p:nvPr>
        </p:nvSpPr>
        <p:spPr>
          <a:xfrm>
            <a:off x="5799167" y="3141133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89" name="Google Shape;489;p13"/>
          <p:cNvSpPr txBox="1">
            <a:spLocks noGrp="1"/>
          </p:cNvSpPr>
          <p:nvPr>
            <p:ph type="subTitle" idx="8"/>
          </p:nvPr>
        </p:nvSpPr>
        <p:spPr>
          <a:xfrm>
            <a:off x="5799167" y="3647400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90" name="Google Shape;490;p13"/>
          <p:cNvSpPr txBox="1">
            <a:spLocks noGrp="1"/>
          </p:cNvSpPr>
          <p:nvPr>
            <p:ph type="title" idx="9" hasCustomPrompt="1"/>
          </p:nvPr>
        </p:nvSpPr>
        <p:spPr>
          <a:xfrm>
            <a:off x="4547700" y="3193259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sp>
        <p:nvSpPr>
          <p:cNvPr id="491" name="Google Shape;491;p13"/>
          <p:cNvSpPr txBox="1">
            <a:spLocks noGrp="1"/>
          </p:cNvSpPr>
          <p:nvPr>
            <p:ph type="title" idx="13"/>
          </p:nvPr>
        </p:nvSpPr>
        <p:spPr>
          <a:xfrm>
            <a:off x="5799167" y="4146867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92" name="Google Shape;492;p13"/>
          <p:cNvSpPr txBox="1">
            <a:spLocks noGrp="1"/>
          </p:cNvSpPr>
          <p:nvPr>
            <p:ph type="subTitle" idx="14"/>
          </p:nvPr>
        </p:nvSpPr>
        <p:spPr>
          <a:xfrm>
            <a:off x="5799167" y="4660300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93" name="Google Shape;493;p13"/>
          <p:cNvSpPr txBox="1">
            <a:spLocks noGrp="1"/>
          </p:cNvSpPr>
          <p:nvPr>
            <p:ph type="title" idx="15" hasCustomPrompt="1"/>
          </p:nvPr>
        </p:nvSpPr>
        <p:spPr>
          <a:xfrm>
            <a:off x="4547700" y="4196612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sp>
        <p:nvSpPr>
          <p:cNvPr id="494" name="Google Shape;494;p13"/>
          <p:cNvSpPr txBox="1">
            <a:spLocks noGrp="1"/>
          </p:cNvSpPr>
          <p:nvPr>
            <p:ph type="title" idx="16"/>
          </p:nvPr>
        </p:nvSpPr>
        <p:spPr>
          <a:xfrm>
            <a:off x="5799167" y="5179833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95" name="Google Shape;495;p13"/>
          <p:cNvSpPr txBox="1">
            <a:spLocks noGrp="1"/>
          </p:cNvSpPr>
          <p:nvPr>
            <p:ph type="subTitle" idx="17"/>
          </p:nvPr>
        </p:nvSpPr>
        <p:spPr>
          <a:xfrm>
            <a:off x="5799167" y="5693667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96" name="Google Shape;496;p13"/>
          <p:cNvSpPr txBox="1">
            <a:spLocks noGrp="1"/>
          </p:cNvSpPr>
          <p:nvPr>
            <p:ph type="title" idx="18" hasCustomPrompt="1"/>
          </p:nvPr>
        </p:nvSpPr>
        <p:spPr>
          <a:xfrm>
            <a:off x="4547700" y="5247167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grpSp>
        <p:nvGrpSpPr>
          <p:cNvPr id="497" name="Google Shape;497;p13"/>
          <p:cNvGrpSpPr/>
          <p:nvPr/>
        </p:nvGrpSpPr>
        <p:grpSpPr>
          <a:xfrm>
            <a:off x="-455159" y="266734"/>
            <a:ext cx="13701789" cy="2484233"/>
            <a:chOff x="-341369" y="200050"/>
            <a:chExt cx="10276342" cy="1863175"/>
          </a:xfrm>
        </p:grpSpPr>
        <p:sp>
          <p:nvSpPr>
            <p:cNvPr id="498" name="Google Shape;498;p13"/>
            <p:cNvSpPr/>
            <p:nvPr/>
          </p:nvSpPr>
          <p:spPr>
            <a:xfrm>
              <a:off x="8270788" y="200050"/>
              <a:ext cx="1664185" cy="850494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9" name="Google Shape;499;p13"/>
            <p:cNvSpPr/>
            <p:nvPr/>
          </p:nvSpPr>
          <p:spPr>
            <a:xfrm>
              <a:off x="-341369" y="1484523"/>
              <a:ext cx="1132362" cy="578702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00" name="Google Shape;500;p13"/>
          <p:cNvGrpSpPr/>
          <p:nvPr/>
        </p:nvGrpSpPr>
        <p:grpSpPr>
          <a:xfrm>
            <a:off x="5566732" y="266736"/>
            <a:ext cx="6365536" cy="6365873"/>
            <a:chOff x="4175049" y="200051"/>
            <a:chExt cx="4774152" cy="4774405"/>
          </a:xfrm>
        </p:grpSpPr>
        <p:sp>
          <p:nvSpPr>
            <p:cNvPr id="501" name="Google Shape;501;p13"/>
            <p:cNvSpPr/>
            <p:nvPr/>
          </p:nvSpPr>
          <p:spPr>
            <a:xfrm>
              <a:off x="4176496" y="200063"/>
              <a:ext cx="344790" cy="330443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2" name="Google Shape;502;p13"/>
            <p:cNvSpPr/>
            <p:nvPr/>
          </p:nvSpPr>
          <p:spPr>
            <a:xfrm>
              <a:off x="4175049" y="202497"/>
              <a:ext cx="345755" cy="330260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3" name="Google Shape;503;p13"/>
            <p:cNvSpPr/>
            <p:nvPr/>
          </p:nvSpPr>
          <p:spPr>
            <a:xfrm>
              <a:off x="4210020" y="233155"/>
              <a:ext cx="270492" cy="258793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4" name="Google Shape;504;p13"/>
            <p:cNvSpPr/>
            <p:nvPr/>
          </p:nvSpPr>
          <p:spPr>
            <a:xfrm>
              <a:off x="4203223" y="243167"/>
              <a:ext cx="178216" cy="253074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5" name="Google Shape;505;p13"/>
            <p:cNvSpPr/>
            <p:nvPr/>
          </p:nvSpPr>
          <p:spPr>
            <a:xfrm>
              <a:off x="4176496" y="200051"/>
              <a:ext cx="344790" cy="330443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6" name="Google Shape;506;p13"/>
            <p:cNvSpPr/>
            <p:nvPr/>
          </p:nvSpPr>
          <p:spPr>
            <a:xfrm>
              <a:off x="4175049" y="202485"/>
              <a:ext cx="345755" cy="330260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7" name="Google Shape;507;p13"/>
            <p:cNvSpPr/>
            <p:nvPr/>
          </p:nvSpPr>
          <p:spPr>
            <a:xfrm>
              <a:off x="4210020" y="233143"/>
              <a:ext cx="270492" cy="258793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8" name="Google Shape;508;p13"/>
            <p:cNvSpPr/>
            <p:nvPr/>
          </p:nvSpPr>
          <p:spPr>
            <a:xfrm>
              <a:off x="4210020" y="248509"/>
              <a:ext cx="171443" cy="243404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9" name="Google Shape;509;p13"/>
            <p:cNvSpPr/>
            <p:nvPr/>
          </p:nvSpPr>
          <p:spPr>
            <a:xfrm>
              <a:off x="8472074" y="4514095"/>
              <a:ext cx="477128" cy="457246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0" name="Google Shape;510;p13"/>
            <p:cNvSpPr/>
            <p:nvPr/>
          </p:nvSpPr>
          <p:spPr>
            <a:xfrm>
              <a:off x="8470072" y="4517464"/>
              <a:ext cx="478462" cy="456992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1" name="Google Shape;511;p13"/>
            <p:cNvSpPr/>
            <p:nvPr/>
          </p:nvSpPr>
          <p:spPr>
            <a:xfrm>
              <a:off x="8518463" y="4559886"/>
              <a:ext cx="374312" cy="358101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2" name="Google Shape;512;p13"/>
            <p:cNvSpPr/>
            <p:nvPr/>
          </p:nvSpPr>
          <p:spPr>
            <a:xfrm>
              <a:off x="8509058" y="4573741"/>
              <a:ext cx="246618" cy="350188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3" name="Google Shape;513;p13"/>
            <p:cNvSpPr/>
            <p:nvPr/>
          </p:nvSpPr>
          <p:spPr>
            <a:xfrm>
              <a:off x="8472074" y="4514079"/>
              <a:ext cx="477128" cy="457246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4" name="Google Shape;514;p13"/>
            <p:cNvSpPr/>
            <p:nvPr/>
          </p:nvSpPr>
          <p:spPr>
            <a:xfrm>
              <a:off x="8470072" y="4517448"/>
              <a:ext cx="478462" cy="456992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5" name="Google Shape;515;p13"/>
            <p:cNvSpPr/>
            <p:nvPr/>
          </p:nvSpPr>
          <p:spPr>
            <a:xfrm>
              <a:off x="8518463" y="4559871"/>
              <a:ext cx="374312" cy="358101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6" name="Google Shape;516;p13"/>
            <p:cNvSpPr/>
            <p:nvPr/>
          </p:nvSpPr>
          <p:spPr>
            <a:xfrm>
              <a:off x="8518463" y="4581133"/>
              <a:ext cx="237246" cy="336826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6399358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 header 1"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4"/>
          <p:cNvSpPr txBox="1">
            <a:spLocks noGrp="1"/>
          </p:cNvSpPr>
          <p:nvPr>
            <p:ph type="title"/>
          </p:nvPr>
        </p:nvSpPr>
        <p:spPr>
          <a:xfrm>
            <a:off x="6314200" y="3376867"/>
            <a:ext cx="3450000" cy="83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519" name="Google Shape;519;p14"/>
          <p:cNvSpPr txBox="1">
            <a:spLocks noGrp="1"/>
          </p:cNvSpPr>
          <p:nvPr>
            <p:ph type="subTitle" idx="1"/>
          </p:nvPr>
        </p:nvSpPr>
        <p:spPr>
          <a:xfrm>
            <a:off x="6730367" y="4265600"/>
            <a:ext cx="3034000" cy="6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520" name="Google Shape;520;p14"/>
          <p:cNvSpPr txBox="1">
            <a:spLocks noGrp="1"/>
          </p:cNvSpPr>
          <p:nvPr>
            <p:ph type="title" idx="2" hasCustomPrompt="1"/>
          </p:nvPr>
        </p:nvSpPr>
        <p:spPr>
          <a:xfrm>
            <a:off x="6925400" y="1357651"/>
            <a:ext cx="2838800" cy="183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3333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521" name="Google Shape;521;p14"/>
          <p:cNvSpPr/>
          <p:nvPr/>
        </p:nvSpPr>
        <p:spPr>
          <a:xfrm>
            <a:off x="290020" y="7156380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2" name="Google Shape;522;p14"/>
          <p:cNvSpPr/>
          <p:nvPr/>
        </p:nvSpPr>
        <p:spPr>
          <a:xfrm>
            <a:off x="25086" y="7269186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3" name="Google Shape;523;p14"/>
          <p:cNvSpPr/>
          <p:nvPr/>
        </p:nvSpPr>
        <p:spPr>
          <a:xfrm>
            <a:off x="154185" y="7198839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4" name="Google Shape;524;p14"/>
          <p:cNvSpPr/>
          <p:nvPr/>
        </p:nvSpPr>
        <p:spPr>
          <a:xfrm>
            <a:off x="5000325" y="7159671"/>
            <a:ext cx="652857" cy="303320"/>
          </a:xfrm>
          <a:custGeom>
            <a:avLst/>
            <a:gdLst/>
            <a:ahLst/>
            <a:cxnLst/>
            <a:rect l="l" t="t" r="r" b="b"/>
            <a:pathLst>
              <a:path w="4167" h="1936" extrusionOk="0">
                <a:moveTo>
                  <a:pt x="1866" y="0"/>
                </a:moveTo>
                <a:cubicBezTo>
                  <a:pt x="1359" y="0"/>
                  <a:pt x="855" y="102"/>
                  <a:pt x="381" y="314"/>
                </a:cubicBezTo>
                <a:cubicBezTo>
                  <a:pt x="297" y="335"/>
                  <a:pt x="233" y="378"/>
                  <a:pt x="170" y="441"/>
                </a:cubicBezTo>
                <a:cubicBezTo>
                  <a:pt x="1" y="631"/>
                  <a:pt x="149" y="949"/>
                  <a:pt x="339" y="1118"/>
                </a:cubicBezTo>
                <a:cubicBezTo>
                  <a:pt x="868" y="1628"/>
                  <a:pt x="1935" y="1935"/>
                  <a:pt x="2730" y="1935"/>
                </a:cubicBezTo>
                <a:cubicBezTo>
                  <a:pt x="2826" y="1935"/>
                  <a:pt x="2918" y="1931"/>
                  <a:pt x="3004" y="1922"/>
                </a:cubicBezTo>
                <a:cubicBezTo>
                  <a:pt x="4167" y="1773"/>
                  <a:pt x="3892" y="420"/>
                  <a:pt x="2919" y="145"/>
                </a:cubicBezTo>
                <a:cubicBezTo>
                  <a:pt x="2572" y="50"/>
                  <a:pt x="2218" y="0"/>
                  <a:pt x="1866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5" name="Google Shape;525;p14"/>
          <p:cNvSpPr/>
          <p:nvPr/>
        </p:nvSpPr>
        <p:spPr>
          <a:xfrm>
            <a:off x="5603361" y="6972446"/>
            <a:ext cx="473937" cy="231093"/>
          </a:xfrm>
          <a:custGeom>
            <a:avLst/>
            <a:gdLst/>
            <a:ahLst/>
            <a:cxnLst/>
            <a:rect l="l" t="t" r="r" b="b"/>
            <a:pathLst>
              <a:path w="3025" h="1475" extrusionOk="0">
                <a:moveTo>
                  <a:pt x="1287" y="0"/>
                </a:moveTo>
                <a:cubicBezTo>
                  <a:pt x="1225" y="0"/>
                  <a:pt x="1163" y="3"/>
                  <a:pt x="1101" y="8"/>
                </a:cubicBezTo>
                <a:cubicBezTo>
                  <a:pt x="762" y="8"/>
                  <a:pt x="445" y="134"/>
                  <a:pt x="191" y="367"/>
                </a:cubicBezTo>
                <a:cubicBezTo>
                  <a:pt x="64" y="494"/>
                  <a:pt x="1" y="705"/>
                  <a:pt x="43" y="896"/>
                </a:cubicBezTo>
                <a:cubicBezTo>
                  <a:pt x="188" y="1286"/>
                  <a:pt x="794" y="1474"/>
                  <a:pt x="1402" y="1474"/>
                </a:cubicBezTo>
                <a:cubicBezTo>
                  <a:pt x="2211" y="1474"/>
                  <a:pt x="3025" y="1143"/>
                  <a:pt x="2771" y="515"/>
                </a:cubicBezTo>
                <a:cubicBezTo>
                  <a:pt x="2750" y="452"/>
                  <a:pt x="2708" y="431"/>
                  <a:pt x="2666" y="388"/>
                </a:cubicBezTo>
                <a:cubicBezTo>
                  <a:pt x="2253" y="144"/>
                  <a:pt x="1774" y="0"/>
                  <a:pt x="1287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6" name="Google Shape;526;p14"/>
          <p:cNvSpPr/>
          <p:nvPr/>
        </p:nvSpPr>
        <p:spPr>
          <a:xfrm>
            <a:off x="308272" y="7156380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7" name="Google Shape;527;p14"/>
          <p:cNvSpPr/>
          <p:nvPr/>
        </p:nvSpPr>
        <p:spPr>
          <a:xfrm>
            <a:off x="914755" y="7347523"/>
            <a:ext cx="760963" cy="323531"/>
          </a:xfrm>
          <a:custGeom>
            <a:avLst/>
            <a:gdLst/>
            <a:ahLst/>
            <a:cxnLst/>
            <a:rect l="l" t="t" r="r" b="b"/>
            <a:pathLst>
              <a:path w="4857" h="2065" extrusionOk="0">
                <a:moveTo>
                  <a:pt x="2199" y="1"/>
                </a:moveTo>
                <a:cubicBezTo>
                  <a:pt x="1526" y="1"/>
                  <a:pt x="856" y="228"/>
                  <a:pt x="318" y="680"/>
                </a:cubicBezTo>
                <a:cubicBezTo>
                  <a:pt x="127" y="807"/>
                  <a:pt x="21" y="997"/>
                  <a:pt x="0" y="1209"/>
                </a:cubicBezTo>
                <a:cubicBezTo>
                  <a:pt x="21" y="1420"/>
                  <a:pt x="148" y="1611"/>
                  <a:pt x="339" y="1695"/>
                </a:cubicBezTo>
                <a:cubicBezTo>
                  <a:pt x="805" y="1995"/>
                  <a:pt x="1340" y="2050"/>
                  <a:pt x="1885" y="2050"/>
                </a:cubicBezTo>
                <a:cubicBezTo>
                  <a:pt x="2202" y="2050"/>
                  <a:pt x="2523" y="2031"/>
                  <a:pt x="2835" y="2031"/>
                </a:cubicBezTo>
                <a:cubicBezTo>
                  <a:pt x="3007" y="2031"/>
                  <a:pt x="3177" y="2037"/>
                  <a:pt x="3342" y="2055"/>
                </a:cubicBezTo>
                <a:cubicBezTo>
                  <a:pt x="3395" y="2061"/>
                  <a:pt x="3448" y="2064"/>
                  <a:pt x="3499" y="2064"/>
                </a:cubicBezTo>
                <a:cubicBezTo>
                  <a:pt x="4323" y="2064"/>
                  <a:pt x="4856" y="1295"/>
                  <a:pt x="4040" y="638"/>
                </a:cubicBezTo>
                <a:cubicBezTo>
                  <a:pt x="3500" y="212"/>
                  <a:pt x="2848" y="1"/>
                  <a:pt x="2199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8" name="Google Shape;528;p14"/>
          <p:cNvSpPr/>
          <p:nvPr/>
        </p:nvSpPr>
        <p:spPr>
          <a:xfrm>
            <a:off x="43338" y="7269186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9" name="Google Shape;529;p14"/>
          <p:cNvSpPr/>
          <p:nvPr/>
        </p:nvSpPr>
        <p:spPr>
          <a:xfrm>
            <a:off x="172437" y="7198839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0" name="Google Shape;530;p14"/>
          <p:cNvSpPr/>
          <p:nvPr/>
        </p:nvSpPr>
        <p:spPr>
          <a:xfrm>
            <a:off x="2112992" y="7539447"/>
            <a:ext cx="97451" cy="153227"/>
          </a:xfrm>
          <a:custGeom>
            <a:avLst/>
            <a:gdLst/>
            <a:ahLst/>
            <a:cxnLst/>
            <a:rect l="l" t="t" r="r" b="b"/>
            <a:pathLst>
              <a:path w="622" h="978" extrusionOk="0">
                <a:moveTo>
                  <a:pt x="170" y="0"/>
                </a:moveTo>
                <a:cubicBezTo>
                  <a:pt x="82" y="0"/>
                  <a:pt x="0" y="72"/>
                  <a:pt x="30" y="174"/>
                </a:cubicBezTo>
                <a:lnTo>
                  <a:pt x="326" y="893"/>
                </a:lnTo>
                <a:cubicBezTo>
                  <a:pt x="368" y="957"/>
                  <a:pt x="410" y="978"/>
                  <a:pt x="474" y="978"/>
                </a:cubicBezTo>
                <a:lnTo>
                  <a:pt x="516" y="978"/>
                </a:lnTo>
                <a:cubicBezTo>
                  <a:pt x="601" y="936"/>
                  <a:pt x="622" y="851"/>
                  <a:pt x="601" y="788"/>
                </a:cubicBezTo>
                <a:lnTo>
                  <a:pt x="283" y="47"/>
                </a:lnTo>
                <a:cubicBezTo>
                  <a:pt x="251" y="15"/>
                  <a:pt x="210" y="0"/>
                  <a:pt x="17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1" name="Google Shape;531;p14"/>
          <p:cNvSpPr/>
          <p:nvPr/>
        </p:nvSpPr>
        <p:spPr>
          <a:xfrm>
            <a:off x="2236765" y="7463931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64" y="64"/>
                  <a:pt x="64" y="149"/>
                </a:cubicBezTo>
                <a:lnTo>
                  <a:pt x="22" y="1143"/>
                </a:lnTo>
                <a:cubicBezTo>
                  <a:pt x="1" y="1227"/>
                  <a:pt x="64" y="1312"/>
                  <a:pt x="149" y="1312"/>
                </a:cubicBezTo>
                <a:cubicBezTo>
                  <a:pt x="234" y="1312"/>
                  <a:pt x="318" y="1248"/>
                  <a:pt x="318" y="1164"/>
                </a:cubicBezTo>
                <a:lnTo>
                  <a:pt x="360" y="170"/>
                </a:lnTo>
                <a:cubicBezTo>
                  <a:pt x="360" y="85"/>
                  <a:pt x="297" y="1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2" name="Google Shape;532;p14"/>
          <p:cNvSpPr/>
          <p:nvPr/>
        </p:nvSpPr>
        <p:spPr>
          <a:xfrm>
            <a:off x="11309458" y="5519067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3" name="Google Shape;533;p14"/>
          <p:cNvSpPr/>
          <p:nvPr/>
        </p:nvSpPr>
        <p:spPr>
          <a:xfrm>
            <a:off x="11635049" y="5533853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4" name="Google Shape;534;p14"/>
          <p:cNvSpPr/>
          <p:nvPr/>
        </p:nvSpPr>
        <p:spPr>
          <a:xfrm>
            <a:off x="9631111" y="6951783"/>
            <a:ext cx="1997607" cy="399069"/>
          </a:xfrm>
          <a:custGeom>
            <a:avLst/>
            <a:gdLst/>
            <a:ahLst/>
            <a:cxnLst/>
            <a:rect l="l" t="t" r="r" b="b"/>
            <a:pathLst>
              <a:path w="13240" h="2645" extrusionOk="0">
                <a:moveTo>
                  <a:pt x="6620" y="1"/>
                </a:moveTo>
                <a:cubicBezTo>
                  <a:pt x="2961" y="1"/>
                  <a:pt x="0" y="593"/>
                  <a:pt x="0" y="1333"/>
                </a:cubicBezTo>
                <a:cubicBezTo>
                  <a:pt x="0" y="2052"/>
                  <a:pt x="2961" y="2644"/>
                  <a:pt x="6620" y="2644"/>
                </a:cubicBezTo>
                <a:cubicBezTo>
                  <a:pt x="10279" y="2644"/>
                  <a:pt x="13240" y="2052"/>
                  <a:pt x="13240" y="1333"/>
                </a:cubicBezTo>
                <a:cubicBezTo>
                  <a:pt x="13240" y="593"/>
                  <a:pt x="10279" y="1"/>
                  <a:pt x="6620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5" name="Google Shape;535;p14"/>
          <p:cNvSpPr/>
          <p:nvPr/>
        </p:nvSpPr>
        <p:spPr>
          <a:xfrm>
            <a:off x="11327035" y="5519067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6" name="Google Shape;536;p14"/>
          <p:cNvSpPr/>
          <p:nvPr/>
        </p:nvSpPr>
        <p:spPr>
          <a:xfrm>
            <a:off x="11652626" y="5533853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37" name="Google Shape;537;p14"/>
          <p:cNvGrpSpPr/>
          <p:nvPr/>
        </p:nvGrpSpPr>
        <p:grpSpPr>
          <a:xfrm>
            <a:off x="-203657" y="5590281"/>
            <a:ext cx="12469016" cy="2535935"/>
            <a:chOff x="-152743" y="4192710"/>
            <a:chExt cx="9351762" cy="1901951"/>
          </a:xfrm>
        </p:grpSpPr>
        <p:sp>
          <p:nvSpPr>
            <p:cNvPr id="538" name="Google Shape;538;p14"/>
            <p:cNvSpPr/>
            <p:nvPr/>
          </p:nvSpPr>
          <p:spPr>
            <a:xfrm>
              <a:off x="-152743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rgbClr val="89B98A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9" name="Google Shape;539;p14"/>
            <p:cNvSpPr/>
            <p:nvPr/>
          </p:nvSpPr>
          <p:spPr>
            <a:xfrm>
              <a:off x="-70725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0" name="Google Shape;540;p14"/>
            <p:cNvSpPr/>
            <p:nvPr/>
          </p:nvSpPr>
          <p:spPr>
            <a:xfrm>
              <a:off x="128093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1" name="Google Shape;541;p14"/>
            <p:cNvSpPr/>
            <p:nvPr/>
          </p:nvSpPr>
          <p:spPr>
            <a:xfrm>
              <a:off x="225035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2" name="Google Shape;542;p14"/>
            <p:cNvSpPr/>
            <p:nvPr/>
          </p:nvSpPr>
          <p:spPr>
            <a:xfrm>
              <a:off x="-139054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3" name="Google Shape;543;p14"/>
            <p:cNvSpPr/>
            <p:nvPr/>
          </p:nvSpPr>
          <p:spPr>
            <a:xfrm>
              <a:off x="5527153" y="4805258"/>
              <a:ext cx="124320" cy="131723"/>
            </a:xfrm>
            <a:custGeom>
              <a:avLst/>
              <a:gdLst/>
              <a:ahLst/>
              <a:cxnLst/>
              <a:rect l="l" t="t" r="r" b="b"/>
              <a:pathLst>
                <a:path w="1058" h="1121" extrusionOk="0">
                  <a:moveTo>
                    <a:pt x="762" y="0"/>
                  </a:moveTo>
                  <a:cubicBezTo>
                    <a:pt x="677" y="42"/>
                    <a:pt x="614" y="85"/>
                    <a:pt x="571" y="169"/>
                  </a:cubicBezTo>
                  <a:cubicBezTo>
                    <a:pt x="466" y="317"/>
                    <a:pt x="402" y="465"/>
                    <a:pt x="339" y="635"/>
                  </a:cubicBezTo>
                  <a:lnTo>
                    <a:pt x="254" y="127"/>
                  </a:lnTo>
                  <a:cubicBezTo>
                    <a:pt x="254" y="106"/>
                    <a:pt x="233" y="63"/>
                    <a:pt x="212" y="42"/>
                  </a:cubicBezTo>
                  <a:cubicBezTo>
                    <a:pt x="194" y="34"/>
                    <a:pt x="177" y="28"/>
                    <a:pt x="159" y="28"/>
                  </a:cubicBezTo>
                  <a:cubicBezTo>
                    <a:pt x="135" y="28"/>
                    <a:pt x="110" y="39"/>
                    <a:pt x="85" y="63"/>
                  </a:cubicBezTo>
                  <a:cubicBezTo>
                    <a:pt x="64" y="106"/>
                    <a:pt x="43" y="148"/>
                    <a:pt x="43" y="190"/>
                  </a:cubicBezTo>
                  <a:cubicBezTo>
                    <a:pt x="0" y="381"/>
                    <a:pt x="0" y="571"/>
                    <a:pt x="22" y="740"/>
                  </a:cubicBezTo>
                  <a:cubicBezTo>
                    <a:pt x="43" y="804"/>
                    <a:pt x="64" y="867"/>
                    <a:pt x="106" y="888"/>
                  </a:cubicBezTo>
                  <a:lnTo>
                    <a:pt x="656" y="1121"/>
                  </a:lnTo>
                  <a:cubicBezTo>
                    <a:pt x="825" y="952"/>
                    <a:pt x="952" y="740"/>
                    <a:pt x="1016" y="508"/>
                  </a:cubicBezTo>
                  <a:cubicBezTo>
                    <a:pt x="1058" y="402"/>
                    <a:pt x="1058" y="296"/>
                    <a:pt x="1037" y="190"/>
                  </a:cubicBezTo>
                  <a:cubicBezTo>
                    <a:pt x="994" y="63"/>
                    <a:pt x="889" y="0"/>
                    <a:pt x="76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4" name="Google Shape;544;p14"/>
            <p:cNvSpPr/>
            <p:nvPr/>
          </p:nvSpPr>
          <p:spPr>
            <a:xfrm>
              <a:off x="3670692" y="4415142"/>
              <a:ext cx="121970" cy="131723"/>
            </a:xfrm>
            <a:custGeom>
              <a:avLst/>
              <a:gdLst/>
              <a:ahLst/>
              <a:cxnLst/>
              <a:rect l="l" t="t" r="r" b="b"/>
              <a:pathLst>
                <a:path w="1038" h="1121" extrusionOk="0">
                  <a:moveTo>
                    <a:pt x="770" y="0"/>
                  </a:moveTo>
                  <a:cubicBezTo>
                    <a:pt x="735" y="0"/>
                    <a:pt x="697" y="7"/>
                    <a:pt x="656" y="21"/>
                  </a:cubicBezTo>
                  <a:cubicBezTo>
                    <a:pt x="593" y="63"/>
                    <a:pt x="530" y="148"/>
                    <a:pt x="508" y="232"/>
                  </a:cubicBezTo>
                  <a:cubicBezTo>
                    <a:pt x="466" y="401"/>
                    <a:pt x="445" y="571"/>
                    <a:pt x="424" y="740"/>
                  </a:cubicBezTo>
                  <a:cubicBezTo>
                    <a:pt x="360" y="592"/>
                    <a:pt x="276" y="444"/>
                    <a:pt x="212" y="296"/>
                  </a:cubicBezTo>
                  <a:cubicBezTo>
                    <a:pt x="191" y="253"/>
                    <a:pt x="170" y="232"/>
                    <a:pt x="149" y="211"/>
                  </a:cubicBezTo>
                  <a:cubicBezTo>
                    <a:pt x="138" y="205"/>
                    <a:pt x="126" y="203"/>
                    <a:pt x="115" y="203"/>
                  </a:cubicBezTo>
                  <a:cubicBezTo>
                    <a:pt x="85" y="203"/>
                    <a:pt x="59" y="222"/>
                    <a:pt x="43" y="253"/>
                  </a:cubicBezTo>
                  <a:cubicBezTo>
                    <a:pt x="22" y="296"/>
                    <a:pt x="1" y="359"/>
                    <a:pt x="22" y="401"/>
                  </a:cubicBezTo>
                  <a:cubicBezTo>
                    <a:pt x="22" y="592"/>
                    <a:pt x="85" y="761"/>
                    <a:pt x="170" y="930"/>
                  </a:cubicBezTo>
                  <a:cubicBezTo>
                    <a:pt x="191" y="994"/>
                    <a:pt x="212" y="1057"/>
                    <a:pt x="276" y="1057"/>
                  </a:cubicBezTo>
                  <a:lnTo>
                    <a:pt x="847" y="1121"/>
                  </a:lnTo>
                  <a:cubicBezTo>
                    <a:pt x="953" y="909"/>
                    <a:pt x="1016" y="676"/>
                    <a:pt x="1037" y="444"/>
                  </a:cubicBezTo>
                  <a:cubicBezTo>
                    <a:pt x="1037" y="317"/>
                    <a:pt x="1016" y="211"/>
                    <a:pt x="953" y="105"/>
                  </a:cubicBezTo>
                  <a:cubicBezTo>
                    <a:pt x="909" y="33"/>
                    <a:pt x="846" y="0"/>
                    <a:pt x="77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5" name="Google Shape;545;p14"/>
            <p:cNvSpPr/>
            <p:nvPr/>
          </p:nvSpPr>
          <p:spPr>
            <a:xfrm>
              <a:off x="3404778" y="4397633"/>
              <a:ext cx="82136" cy="104462"/>
            </a:xfrm>
            <a:custGeom>
              <a:avLst/>
              <a:gdLst/>
              <a:ahLst/>
              <a:cxnLst/>
              <a:rect l="l" t="t" r="r" b="b"/>
              <a:pathLst>
                <a:path w="699" h="889" extrusionOk="0">
                  <a:moveTo>
                    <a:pt x="107" y="1"/>
                  </a:moveTo>
                  <a:cubicBezTo>
                    <a:pt x="64" y="1"/>
                    <a:pt x="43" y="1"/>
                    <a:pt x="22" y="43"/>
                  </a:cubicBezTo>
                  <a:cubicBezTo>
                    <a:pt x="22" y="64"/>
                    <a:pt x="1" y="106"/>
                    <a:pt x="22" y="127"/>
                  </a:cubicBezTo>
                  <a:cubicBezTo>
                    <a:pt x="1" y="360"/>
                    <a:pt x="64" y="572"/>
                    <a:pt x="191" y="741"/>
                  </a:cubicBezTo>
                  <a:lnTo>
                    <a:pt x="508" y="889"/>
                  </a:lnTo>
                  <a:lnTo>
                    <a:pt x="593" y="656"/>
                  </a:lnTo>
                  <a:cubicBezTo>
                    <a:pt x="635" y="572"/>
                    <a:pt x="656" y="466"/>
                    <a:pt x="678" y="360"/>
                  </a:cubicBezTo>
                  <a:cubicBezTo>
                    <a:pt x="699" y="254"/>
                    <a:pt x="678" y="170"/>
                    <a:pt x="635" y="64"/>
                  </a:cubicBezTo>
                  <a:cubicBezTo>
                    <a:pt x="614" y="64"/>
                    <a:pt x="614" y="43"/>
                    <a:pt x="593" y="43"/>
                  </a:cubicBezTo>
                  <a:cubicBezTo>
                    <a:pt x="582" y="37"/>
                    <a:pt x="570" y="35"/>
                    <a:pt x="559" y="35"/>
                  </a:cubicBezTo>
                  <a:cubicBezTo>
                    <a:pt x="528" y="35"/>
                    <a:pt x="497" y="54"/>
                    <a:pt x="466" y="85"/>
                  </a:cubicBezTo>
                  <a:cubicBezTo>
                    <a:pt x="381" y="170"/>
                    <a:pt x="339" y="275"/>
                    <a:pt x="318" y="402"/>
                  </a:cubicBezTo>
                  <a:cubicBezTo>
                    <a:pt x="276" y="297"/>
                    <a:pt x="233" y="191"/>
                    <a:pt x="191" y="85"/>
                  </a:cubicBezTo>
                  <a:cubicBezTo>
                    <a:pt x="170" y="43"/>
                    <a:pt x="149" y="1"/>
                    <a:pt x="10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6" name="Google Shape;546;p14"/>
            <p:cNvSpPr/>
            <p:nvPr/>
          </p:nvSpPr>
          <p:spPr>
            <a:xfrm>
              <a:off x="-57036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7" name="Google Shape;547;p14"/>
            <p:cNvSpPr/>
            <p:nvPr/>
          </p:nvSpPr>
          <p:spPr>
            <a:xfrm>
              <a:off x="141783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8" name="Google Shape;548;p14"/>
            <p:cNvSpPr/>
            <p:nvPr/>
          </p:nvSpPr>
          <p:spPr>
            <a:xfrm>
              <a:off x="238724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9" name="Google Shape;549;p14"/>
            <p:cNvSpPr/>
            <p:nvPr/>
          </p:nvSpPr>
          <p:spPr>
            <a:xfrm>
              <a:off x="3740255" y="4736166"/>
              <a:ext cx="77201" cy="121383"/>
            </a:xfrm>
            <a:custGeom>
              <a:avLst/>
              <a:gdLst/>
              <a:ahLst/>
              <a:cxnLst/>
              <a:rect l="l" t="t" r="r" b="b"/>
              <a:pathLst>
                <a:path w="657" h="1033" extrusionOk="0">
                  <a:moveTo>
                    <a:pt x="484" y="0"/>
                  </a:moveTo>
                  <a:cubicBezTo>
                    <a:pt x="425" y="0"/>
                    <a:pt x="376" y="40"/>
                    <a:pt x="361" y="102"/>
                  </a:cubicBezTo>
                  <a:lnTo>
                    <a:pt x="43" y="821"/>
                  </a:lnTo>
                  <a:cubicBezTo>
                    <a:pt x="1" y="884"/>
                    <a:pt x="43" y="990"/>
                    <a:pt x="128" y="1011"/>
                  </a:cubicBezTo>
                  <a:cubicBezTo>
                    <a:pt x="128" y="1032"/>
                    <a:pt x="149" y="1032"/>
                    <a:pt x="170" y="1032"/>
                  </a:cubicBezTo>
                  <a:cubicBezTo>
                    <a:pt x="234" y="1032"/>
                    <a:pt x="297" y="990"/>
                    <a:pt x="318" y="926"/>
                  </a:cubicBezTo>
                  <a:lnTo>
                    <a:pt x="635" y="207"/>
                  </a:lnTo>
                  <a:cubicBezTo>
                    <a:pt x="657" y="144"/>
                    <a:pt x="635" y="59"/>
                    <a:pt x="551" y="17"/>
                  </a:cubicBezTo>
                  <a:cubicBezTo>
                    <a:pt x="528" y="6"/>
                    <a:pt x="506" y="0"/>
                    <a:pt x="48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0" name="Google Shape;550;p14"/>
            <p:cNvSpPr/>
            <p:nvPr/>
          </p:nvSpPr>
          <p:spPr>
            <a:xfrm>
              <a:off x="3680680" y="4686226"/>
              <a:ext cx="42302" cy="151346"/>
            </a:xfrm>
            <a:custGeom>
              <a:avLst/>
              <a:gdLst/>
              <a:ahLst/>
              <a:cxnLst/>
              <a:rect l="l" t="t" r="r" b="b"/>
              <a:pathLst>
                <a:path w="360" h="1288" extrusionOk="0">
                  <a:moveTo>
                    <a:pt x="155" y="0"/>
                  </a:moveTo>
                  <a:cubicBezTo>
                    <a:pt x="84" y="0"/>
                    <a:pt x="11" y="48"/>
                    <a:pt x="0" y="146"/>
                  </a:cubicBezTo>
                  <a:lnTo>
                    <a:pt x="64" y="1140"/>
                  </a:lnTo>
                  <a:cubicBezTo>
                    <a:pt x="64" y="1225"/>
                    <a:pt x="127" y="1288"/>
                    <a:pt x="212" y="1288"/>
                  </a:cubicBezTo>
                  <a:cubicBezTo>
                    <a:pt x="296" y="1288"/>
                    <a:pt x="360" y="1225"/>
                    <a:pt x="360" y="1140"/>
                  </a:cubicBezTo>
                  <a:lnTo>
                    <a:pt x="296" y="125"/>
                  </a:lnTo>
                  <a:cubicBezTo>
                    <a:pt x="286" y="43"/>
                    <a:pt x="221" y="0"/>
                    <a:pt x="15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1" name="Google Shape;551;p14"/>
            <p:cNvSpPr/>
            <p:nvPr/>
          </p:nvSpPr>
          <p:spPr>
            <a:xfrm>
              <a:off x="2934676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rgbClr val="79AD78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2" name="Google Shape;552;p14"/>
            <p:cNvSpPr/>
            <p:nvPr/>
          </p:nvSpPr>
          <p:spPr>
            <a:xfrm>
              <a:off x="8383986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3" name="Google Shape;553;p14"/>
            <p:cNvSpPr/>
            <p:nvPr/>
          </p:nvSpPr>
          <p:spPr>
            <a:xfrm>
              <a:off x="8704673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4" name="Google Shape;554;p14"/>
            <p:cNvSpPr/>
            <p:nvPr/>
          </p:nvSpPr>
          <p:spPr>
            <a:xfrm>
              <a:off x="9051727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5" name="Google Shape;555;p14"/>
            <p:cNvSpPr/>
            <p:nvPr/>
          </p:nvSpPr>
          <p:spPr>
            <a:xfrm>
              <a:off x="8989490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6" name="Google Shape;556;p14"/>
            <p:cNvSpPr/>
            <p:nvPr/>
          </p:nvSpPr>
          <p:spPr>
            <a:xfrm>
              <a:off x="2947858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7" name="Google Shape;557;p14"/>
            <p:cNvSpPr/>
            <p:nvPr/>
          </p:nvSpPr>
          <p:spPr>
            <a:xfrm>
              <a:off x="5703571" y="4544466"/>
              <a:ext cx="430904" cy="238875"/>
            </a:xfrm>
            <a:custGeom>
              <a:avLst/>
              <a:gdLst/>
              <a:ahLst/>
              <a:cxnLst/>
              <a:rect l="l" t="t" r="r" b="b"/>
              <a:pathLst>
                <a:path w="3808" h="2111" extrusionOk="0">
                  <a:moveTo>
                    <a:pt x="2242" y="0"/>
                  </a:moveTo>
                  <a:cubicBezTo>
                    <a:pt x="1840" y="0"/>
                    <a:pt x="1439" y="74"/>
                    <a:pt x="1058" y="222"/>
                  </a:cubicBezTo>
                  <a:cubicBezTo>
                    <a:pt x="170" y="582"/>
                    <a:pt x="0" y="2020"/>
                    <a:pt x="1100" y="2105"/>
                  </a:cubicBezTo>
                  <a:cubicBezTo>
                    <a:pt x="1149" y="2109"/>
                    <a:pt x="1199" y="2111"/>
                    <a:pt x="1250" y="2111"/>
                  </a:cubicBezTo>
                  <a:cubicBezTo>
                    <a:pt x="2007" y="2111"/>
                    <a:pt x="3057" y="1684"/>
                    <a:pt x="3532" y="1090"/>
                  </a:cubicBezTo>
                  <a:cubicBezTo>
                    <a:pt x="3680" y="878"/>
                    <a:pt x="3807" y="561"/>
                    <a:pt x="3638" y="349"/>
                  </a:cubicBezTo>
                  <a:cubicBezTo>
                    <a:pt x="3575" y="307"/>
                    <a:pt x="3511" y="244"/>
                    <a:pt x="3427" y="222"/>
                  </a:cubicBezTo>
                  <a:cubicBezTo>
                    <a:pt x="3046" y="74"/>
                    <a:pt x="2644" y="0"/>
                    <a:pt x="224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8" name="Google Shape;558;p14"/>
            <p:cNvSpPr/>
            <p:nvPr/>
          </p:nvSpPr>
          <p:spPr>
            <a:xfrm>
              <a:off x="8397169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9" name="Google Shape;559;p14"/>
            <p:cNvSpPr/>
            <p:nvPr/>
          </p:nvSpPr>
          <p:spPr>
            <a:xfrm>
              <a:off x="8717856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0" name="Google Shape;560;p14"/>
            <p:cNvSpPr/>
            <p:nvPr/>
          </p:nvSpPr>
          <p:spPr>
            <a:xfrm>
              <a:off x="5901035" y="4480920"/>
              <a:ext cx="62350" cy="125152"/>
            </a:xfrm>
            <a:custGeom>
              <a:avLst/>
              <a:gdLst/>
              <a:ahLst/>
              <a:cxnLst/>
              <a:rect l="l" t="t" r="r" b="b"/>
              <a:pathLst>
                <a:path w="551" h="1106" extrusionOk="0">
                  <a:moveTo>
                    <a:pt x="402" y="1"/>
                  </a:moveTo>
                  <a:cubicBezTo>
                    <a:pt x="334" y="1"/>
                    <a:pt x="276" y="42"/>
                    <a:pt x="276" y="112"/>
                  </a:cubicBezTo>
                  <a:lnTo>
                    <a:pt x="22" y="894"/>
                  </a:lnTo>
                  <a:cubicBezTo>
                    <a:pt x="1" y="979"/>
                    <a:pt x="22" y="1063"/>
                    <a:pt x="107" y="1106"/>
                  </a:cubicBezTo>
                  <a:lnTo>
                    <a:pt x="170" y="1106"/>
                  </a:lnTo>
                  <a:cubicBezTo>
                    <a:pt x="212" y="1106"/>
                    <a:pt x="276" y="1063"/>
                    <a:pt x="276" y="1000"/>
                  </a:cubicBezTo>
                  <a:lnTo>
                    <a:pt x="530" y="218"/>
                  </a:lnTo>
                  <a:cubicBezTo>
                    <a:pt x="551" y="133"/>
                    <a:pt x="509" y="48"/>
                    <a:pt x="445" y="6"/>
                  </a:cubicBezTo>
                  <a:cubicBezTo>
                    <a:pt x="431" y="2"/>
                    <a:pt x="416" y="1"/>
                    <a:pt x="40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1" name="Google Shape;561;p14"/>
            <p:cNvSpPr/>
            <p:nvPr/>
          </p:nvSpPr>
          <p:spPr>
            <a:xfrm>
              <a:off x="5836422" y="4435658"/>
              <a:ext cx="45602" cy="156044"/>
            </a:xfrm>
            <a:custGeom>
              <a:avLst/>
              <a:gdLst/>
              <a:ahLst/>
              <a:cxnLst/>
              <a:rect l="l" t="t" r="r" b="b"/>
              <a:pathLst>
                <a:path w="403" h="1379" extrusionOk="0">
                  <a:moveTo>
                    <a:pt x="160" y="0"/>
                  </a:moveTo>
                  <a:cubicBezTo>
                    <a:pt x="150" y="0"/>
                    <a:pt x="139" y="1"/>
                    <a:pt x="128" y="4"/>
                  </a:cubicBezTo>
                  <a:cubicBezTo>
                    <a:pt x="43" y="25"/>
                    <a:pt x="1" y="89"/>
                    <a:pt x="1" y="173"/>
                  </a:cubicBezTo>
                  <a:lnTo>
                    <a:pt x="107" y="1231"/>
                  </a:lnTo>
                  <a:cubicBezTo>
                    <a:pt x="107" y="1315"/>
                    <a:pt x="191" y="1379"/>
                    <a:pt x="276" y="1379"/>
                  </a:cubicBezTo>
                  <a:cubicBezTo>
                    <a:pt x="339" y="1358"/>
                    <a:pt x="403" y="1273"/>
                    <a:pt x="382" y="1189"/>
                  </a:cubicBezTo>
                  <a:lnTo>
                    <a:pt x="276" y="131"/>
                  </a:lnTo>
                  <a:cubicBezTo>
                    <a:pt x="276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2" name="Google Shape;562;p14"/>
            <p:cNvSpPr/>
            <p:nvPr/>
          </p:nvSpPr>
          <p:spPr>
            <a:xfrm>
              <a:off x="9064909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3" name="Google Shape;563;p14"/>
            <p:cNvSpPr/>
            <p:nvPr/>
          </p:nvSpPr>
          <p:spPr>
            <a:xfrm>
              <a:off x="9002673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64" name="Google Shape;564;p14"/>
          <p:cNvSpPr/>
          <p:nvPr/>
        </p:nvSpPr>
        <p:spPr>
          <a:xfrm>
            <a:off x="5028103" y="7083197"/>
            <a:ext cx="99125" cy="159175"/>
          </a:xfrm>
          <a:custGeom>
            <a:avLst/>
            <a:gdLst/>
            <a:ahLst/>
            <a:cxnLst/>
            <a:rect l="l" t="t" r="r" b="b"/>
            <a:pathLst>
              <a:path w="657" h="1055" extrusionOk="0">
                <a:moveTo>
                  <a:pt x="163" y="1"/>
                </a:moveTo>
                <a:cubicBezTo>
                  <a:pt x="144" y="1"/>
                  <a:pt x="124" y="6"/>
                  <a:pt x="107" y="18"/>
                </a:cubicBezTo>
                <a:cubicBezTo>
                  <a:pt x="43" y="60"/>
                  <a:pt x="1" y="166"/>
                  <a:pt x="43" y="229"/>
                </a:cubicBezTo>
                <a:lnTo>
                  <a:pt x="382" y="970"/>
                </a:lnTo>
                <a:cubicBezTo>
                  <a:pt x="403" y="1033"/>
                  <a:pt x="445" y="1054"/>
                  <a:pt x="509" y="1054"/>
                </a:cubicBezTo>
                <a:lnTo>
                  <a:pt x="572" y="1054"/>
                </a:lnTo>
                <a:cubicBezTo>
                  <a:pt x="635" y="991"/>
                  <a:pt x="657" y="906"/>
                  <a:pt x="635" y="822"/>
                </a:cubicBezTo>
                <a:lnTo>
                  <a:pt x="297" y="81"/>
                </a:lnTo>
                <a:cubicBezTo>
                  <a:pt x="267" y="36"/>
                  <a:pt x="214" y="1"/>
                  <a:pt x="16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5" name="Google Shape;565;p14"/>
          <p:cNvSpPr/>
          <p:nvPr/>
        </p:nvSpPr>
        <p:spPr>
          <a:xfrm>
            <a:off x="5146239" y="7006099"/>
            <a:ext cx="44811" cy="207456"/>
          </a:xfrm>
          <a:custGeom>
            <a:avLst/>
            <a:gdLst/>
            <a:ahLst/>
            <a:cxnLst/>
            <a:rect l="l" t="t" r="r" b="b"/>
            <a:pathLst>
              <a:path w="297" h="1375" extrusionOk="0">
                <a:moveTo>
                  <a:pt x="149" y="0"/>
                </a:moveTo>
                <a:cubicBezTo>
                  <a:pt x="64" y="0"/>
                  <a:pt x="0" y="85"/>
                  <a:pt x="0" y="148"/>
                </a:cubicBezTo>
                <a:lnTo>
                  <a:pt x="22" y="1206"/>
                </a:lnTo>
                <a:cubicBezTo>
                  <a:pt x="22" y="1290"/>
                  <a:pt x="85" y="1375"/>
                  <a:pt x="170" y="1375"/>
                </a:cubicBezTo>
                <a:cubicBezTo>
                  <a:pt x="233" y="1354"/>
                  <a:pt x="297" y="1290"/>
                  <a:pt x="297" y="1206"/>
                </a:cubicBezTo>
                <a:lnTo>
                  <a:pt x="275" y="148"/>
                </a:lnTo>
                <a:cubicBezTo>
                  <a:pt x="275" y="64"/>
                  <a:pt x="212" y="0"/>
                  <a:pt x="149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66" name="Google Shape;566;p14"/>
          <p:cNvGrpSpPr/>
          <p:nvPr/>
        </p:nvGrpSpPr>
        <p:grpSpPr>
          <a:xfrm>
            <a:off x="4271041" y="354215"/>
            <a:ext cx="951764" cy="935725"/>
            <a:chOff x="3203280" y="265661"/>
            <a:chExt cx="713823" cy="701794"/>
          </a:xfrm>
        </p:grpSpPr>
        <p:sp>
          <p:nvSpPr>
            <p:cNvPr id="567" name="Google Shape;567;p14"/>
            <p:cNvSpPr/>
            <p:nvPr/>
          </p:nvSpPr>
          <p:spPr>
            <a:xfrm rot="1116294" flipH="1">
              <a:off x="3275733" y="342115"/>
              <a:ext cx="568362" cy="544627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8" name="Google Shape;568;p14"/>
            <p:cNvSpPr/>
            <p:nvPr/>
          </p:nvSpPr>
          <p:spPr>
            <a:xfrm rot="1116294" flipH="1">
              <a:off x="3275213" y="346433"/>
              <a:ext cx="569951" cy="54432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9" name="Google Shape;569;p14"/>
            <p:cNvSpPr/>
            <p:nvPr/>
          </p:nvSpPr>
          <p:spPr>
            <a:xfrm rot="1116294" flipH="1">
              <a:off x="3344071" y="398803"/>
              <a:ext cx="445886" cy="42653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0" name="Google Shape;570;p14"/>
            <p:cNvSpPr/>
            <p:nvPr/>
          </p:nvSpPr>
          <p:spPr>
            <a:xfrm rot="1116294" flipH="1">
              <a:off x="3499063" y="442529"/>
              <a:ext cx="293775" cy="41711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1" name="Google Shape;571;p14"/>
            <p:cNvSpPr/>
            <p:nvPr/>
          </p:nvSpPr>
          <p:spPr>
            <a:xfrm rot="1116294" flipH="1">
              <a:off x="3275739" y="342097"/>
              <a:ext cx="568362" cy="544627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2" name="Google Shape;572;p14"/>
            <p:cNvSpPr/>
            <p:nvPr/>
          </p:nvSpPr>
          <p:spPr>
            <a:xfrm rot="1116294" flipH="1">
              <a:off x="3275219" y="346415"/>
              <a:ext cx="569951" cy="54432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3" name="Google Shape;573;p14"/>
            <p:cNvSpPr/>
            <p:nvPr/>
          </p:nvSpPr>
          <p:spPr>
            <a:xfrm rot="1116294" flipH="1">
              <a:off x="3344077" y="398785"/>
              <a:ext cx="445886" cy="42653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4" name="Google Shape;574;p14"/>
            <p:cNvSpPr/>
            <p:nvPr/>
          </p:nvSpPr>
          <p:spPr>
            <a:xfrm rot="1116174" flipH="1">
              <a:off x="3499040" y="449500"/>
              <a:ext cx="282613" cy="401236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75" name="Google Shape;575;p14"/>
          <p:cNvGrpSpPr/>
          <p:nvPr/>
        </p:nvGrpSpPr>
        <p:grpSpPr>
          <a:xfrm>
            <a:off x="10975053" y="3730051"/>
            <a:ext cx="530364" cy="509621"/>
            <a:chOff x="8231289" y="2797538"/>
            <a:chExt cx="397773" cy="382216"/>
          </a:xfrm>
        </p:grpSpPr>
        <p:sp>
          <p:nvSpPr>
            <p:cNvPr id="576" name="Google Shape;576;p14"/>
            <p:cNvSpPr/>
            <p:nvPr/>
          </p:nvSpPr>
          <p:spPr>
            <a:xfrm flipH="1">
              <a:off x="8231289" y="2797551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7" name="Google Shape;577;p14"/>
            <p:cNvSpPr/>
            <p:nvPr/>
          </p:nvSpPr>
          <p:spPr>
            <a:xfrm flipH="1">
              <a:off x="8231844" y="2800348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8" name="Google Shape;578;p14"/>
            <p:cNvSpPr/>
            <p:nvPr/>
          </p:nvSpPr>
          <p:spPr>
            <a:xfrm flipH="1">
              <a:off x="8278131" y="2835568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9" name="Google Shape;579;p14"/>
            <p:cNvSpPr/>
            <p:nvPr/>
          </p:nvSpPr>
          <p:spPr>
            <a:xfrm flipH="1">
              <a:off x="8391951" y="2847071"/>
              <a:ext cx="204742" cy="29073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0" name="Google Shape;580;p14"/>
            <p:cNvSpPr/>
            <p:nvPr/>
          </p:nvSpPr>
          <p:spPr>
            <a:xfrm flipH="1">
              <a:off x="8231289" y="2797538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1" name="Google Shape;581;p14"/>
            <p:cNvSpPr/>
            <p:nvPr/>
          </p:nvSpPr>
          <p:spPr>
            <a:xfrm flipH="1">
              <a:off x="8231844" y="2800334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2" name="Google Shape;582;p14"/>
            <p:cNvSpPr/>
            <p:nvPr/>
          </p:nvSpPr>
          <p:spPr>
            <a:xfrm flipH="1">
              <a:off x="8278131" y="2835555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3" name="Google Shape;583;p14"/>
            <p:cNvSpPr/>
            <p:nvPr/>
          </p:nvSpPr>
          <p:spPr>
            <a:xfrm flipH="1">
              <a:off x="8391904" y="2853207"/>
              <a:ext cx="196980" cy="27966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84" name="Google Shape;584;p14"/>
          <p:cNvSpPr/>
          <p:nvPr/>
        </p:nvSpPr>
        <p:spPr>
          <a:xfrm>
            <a:off x="9563775" y="166501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5" name="Google Shape;585;p14"/>
          <p:cNvSpPr/>
          <p:nvPr/>
        </p:nvSpPr>
        <p:spPr>
          <a:xfrm>
            <a:off x="3" y="834784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39566231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 2">
  <p:cSld name="Title only  2">
    <p:spTree>
      <p:nvGrpSpPr>
        <p:cNvPr id="1" name="Shape 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" name="Google Shape;760;p19"/>
          <p:cNvSpPr txBox="1">
            <a:spLocks noGrp="1"/>
          </p:cNvSpPr>
          <p:nvPr>
            <p:ph type="title"/>
          </p:nvPr>
        </p:nvSpPr>
        <p:spPr>
          <a:xfrm>
            <a:off x="801900" y="458533"/>
            <a:ext cx="9926400" cy="86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761" name="Google Shape;761;p19"/>
          <p:cNvSpPr/>
          <p:nvPr/>
        </p:nvSpPr>
        <p:spPr>
          <a:xfrm>
            <a:off x="11120198" y="5732663"/>
            <a:ext cx="995777" cy="954279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2" name="Google Shape;762;p19"/>
          <p:cNvSpPr/>
          <p:nvPr/>
        </p:nvSpPr>
        <p:spPr>
          <a:xfrm>
            <a:off x="11116019" y="5739694"/>
            <a:ext cx="998563" cy="953748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3" name="Google Shape;763;p19"/>
          <p:cNvSpPr/>
          <p:nvPr/>
        </p:nvSpPr>
        <p:spPr>
          <a:xfrm>
            <a:off x="11217014" y="5828232"/>
            <a:ext cx="781199" cy="747360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4" name="Google Shape;764;p19"/>
          <p:cNvSpPr/>
          <p:nvPr/>
        </p:nvSpPr>
        <p:spPr>
          <a:xfrm>
            <a:off x="11197385" y="5857149"/>
            <a:ext cx="514699" cy="73084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5" name="Google Shape;765;p19"/>
          <p:cNvSpPr/>
          <p:nvPr/>
        </p:nvSpPr>
        <p:spPr>
          <a:xfrm>
            <a:off x="11120198" y="5732630"/>
            <a:ext cx="995777" cy="954279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6" name="Google Shape;766;p19"/>
          <p:cNvSpPr/>
          <p:nvPr/>
        </p:nvSpPr>
        <p:spPr>
          <a:xfrm>
            <a:off x="11116019" y="5739661"/>
            <a:ext cx="998563" cy="953748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7" name="Google Shape;767;p19"/>
          <p:cNvSpPr/>
          <p:nvPr/>
        </p:nvSpPr>
        <p:spPr>
          <a:xfrm>
            <a:off x="11217014" y="5828199"/>
            <a:ext cx="781199" cy="747360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8" name="Google Shape;768;p19"/>
          <p:cNvSpPr/>
          <p:nvPr/>
        </p:nvSpPr>
        <p:spPr>
          <a:xfrm>
            <a:off x="11217014" y="5872574"/>
            <a:ext cx="495137" cy="702965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9" name="Google Shape;769;p19"/>
          <p:cNvSpPr/>
          <p:nvPr/>
        </p:nvSpPr>
        <p:spPr>
          <a:xfrm>
            <a:off x="193639" y="297966"/>
            <a:ext cx="493108" cy="4725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0" name="Google Shape;770;p19"/>
          <p:cNvSpPr/>
          <p:nvPr/>
        </p:nvSpPr>
        <p:spPr>
          <a:xfrm>
            <a:off x="191571" y="301447"/>
            <a:ext cx="494488" cy="472272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1" name="Google Shape;771;p19"/>
          <p:cNvSpPr/>
          <p:nvPr/>
        </p:nvSpPr>
        <p:spPr>
          <a:xfrm>
            <a:off x="241582" y="345292"/>
            <a:ext cx="386849" cy="37007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2" name="Google Shape;772;p19"/>
          <p:cNvSpPr/>
          <p:nvPr/>
        </p:nvSpPr>
        <p:spPr>
          <a:xfrm>
            <a:off x="231862" y="359610"/>
            <a:ext cx="254879" cy="36189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3" name="Google Shape;773;p19"/>
          <p:cNvSpPr/>
          <p:nvPr/>
        </p:nvSpPr>
        <p:spPr>
          <a:xfrm>
            <a:off x="193639" y="297950"/>
            <a:ext cx="493108" cy="4725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4" name="Google Shape;774;p19"/>
          <p:cNvSpPr/>
          <p:nvPr/>
        </p:nvSpPr>
        <p:spPr>
          <a:xfrm>
            <a:off x="191571" y="301431"/>
            <a:ext cx="494488" cy="472272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5" name="Google Shape;775;p19"/>
          <p:cNvSpPr/>
          <p:nvPr/>
        </p:nvSpPr>
        <p:spPr>
          <a:xfrm>
            <a:off x="241582" y="345276"/>
            <a:ext cx="386849" cy="37007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6" name="Google Shape;776;p19"/>
          <p:cNvSpPr/>
          <p:nvPr/>
        </p:nvSpPr>
        <p:spPr>
          <a:xfrm>
            <a:off x="241581" y="367250"/>
            <a:ext cx="245176" cy="348121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7" name="Google Shape;777;p19"/>
          <p:cNvSpPr/>
          <p:nvPr/>
        </p:nvSpPr>
        <p:spPr>
          <a:xfrm>
            <a:off x="10070117" y="773733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5146788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3" name="Google Shape;1073;p30"/>
          <p:cNvGrpSpPr/>
          <p:nvPr/>
        </p:nvGrpSpPr>
        <p:grpSpPr>
          <a:xfrm>
            <a:off x="732203" y="644966"/>
            <a:ext cx="10679772" cy="5568084"/>
            <a:chOff x="549152" y="483724"/>
            <a:chExt cx="8009829" cy="4176063"/>
          </a:xfrm>
        </p:grpSpPr>
        <p:sp>
          <p:nvSpPr>
            <p:cNvPr id="1074" name="Google Shape;1074;p30"/>
            <p:cNvSpPr/>
            <p:nvPr/>
          </p:nvSpPr>
          <p:spPr>
            <a:xfrm rot="924102" flipH="1">
              <a:off x="7596871" y="3904036"/>
              <a:ext cx="698874" cy="66979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5" name="Google Shape;1075;p30"/>
            <p:cNvSpPr/>
            <p:nvPr/>
          </p:nvSpPr>
          <p:spPr>
            <a:xfrm rot="924102" flipH="1">
              <a:off x="7596518" y="3909319"/>
              <a:ext cx="700828" cy="669423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6" name="Google Shape;1076;p30"/>
            <p:cNvSpPr/>
            <p:nvPr/>
          </p:nvSpPr>
          <p:spPr>
            <a:xfrm rot="924102" flipH="1">
              <a:off x="7680721" y="3973265"/>
              <a:ext cx="548274" cy="52456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7" name="Google Shape;1077;p30"/>
            <p:cNvSpPr/>
            <p:nvPr/>
          </p:nvSpPr>
          <p:spPr>
            <a:xfrm rot="924102" flipH="1">
              <a:off x="7873834" y="4021536"/>
              <a:ext cx="361234" cy="512971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8" name="Google Shape;1078;p30"/>
            <p:cNvSpPr/>
            <p:nvPr/>
          </p:nvSpPr>
          <p:spPr>
            <a:xfrm rot="924102" flipH="1">
              <a:off x="7596878" y="3904014"/>
              <a:ext cx="698874" cy="66979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9" name="Google Shape;1079;p30"/>
            <p:cNvSpPr/>
            <p:nvPr/>
          </p:nvSpPr>
          <p:spPr>
            <a:xfrm rot="924102" flipH="1">
              <a:off x="7596524" y="3909297"/>
              <a:ext cx="700828" cy="669423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0" name="Google Shape;1080;p30"/>
            <p:cNvSpPr/>
            <p:nvPr/>
          </p:nvSpPr>
          <p:spPr>
            <a:xfrm rot="924102" flipH="1">
              <a:off x="7680727" y="3973242"/>
              <a:ext cx="548274" cy="52456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1" name="Google Shape;1081;p30"/>
            <p:cNvSpPr/>
            <p:nvPr/>
          </p:nvSpPr>
          <p:spPr>
            <a:xfrm rot="924111" flipH="1">
              <a:off x="7873686" y="4030480"/>
              <a:ext cx="347568" cy="49345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2" name="Google Shape;1082;p30"/>
            <p:cNvSpPr/>
            <p:nvPr/>
          </p:nvSpPr>
          <p:spPr>
            <a:xfrm flipH="1">
              <a:off x="8087957" y="483740"/>
              <a:ext cx="469056" cy="44954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3" name="Google Shape;1083;p30"/>
            <p:cNvSpPr/>
            <p:nvPr/>
          </p:nvSpPr>
          <p:spPr>
            <a:xfrm flipH="1">
              <a:off x="8088613" y="487051"/>
              <a:ext cx="470368" cy="44929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4" name="Google Shape;1084;p30"/>
            <p:cNvSpPr/>
            <p:nvPr/>
          </p:nvSpPr>
          <p:spPr>
            <a:xfrm flipH="1">
              <a:off x="8143423" y="528760"/>
              <a:ext cx="367980" cy="35207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5" name="Google Shape;1085;p30"/>
            <p:cNvSpPr/>
            <p:nvPr/>
          </p:nvSpPr>
          <p:spPr>
            <a:xfrm flipH="1">
              <a:off x="8278203" y="542382"/>
              <a:ext cx="242446" cy="344292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6" name="Google Shape;1086;p30"/>
            <p:cNvSpPr/>
            <p:nvPr/>
          </p:nvSpPr>
          <p:spPr>
            <a:xfrm flipH="1">
              <a:off x="8087957" y="483724"/>
              <a:ext cx="469056" cy="44954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7" name="Google Shape;1087;p30"/>
            <p:cNvSpPr/>
            <p:nvPr/>
          </p:nvSpPr>
          <p:spPr>
            <a:xfrm flipH="1">
              <a:off x="8088613" y="487036"/>
              <a:ext cx="470368" cy="44929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8" name="Google Shape;1088;p30"/>
            <p:cNvSpPr/>
            <p:nvPr/>
          </p:nvSpPr>
          <p:spPr>
            <a:xfrm flipH="1">
              <a:off x="8143423" y="528745"/>
              <a:ext cx="367980" cy="35207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9" name="Google Shape;1089;p30"/>
            <p:cNvSpPr/>
            <p:nvPr/>
          </p:nvSpPr>
          <p:spPr>
            <a:xfrm flipH="1">
              <a:off x="8278135" y="549649"/>
              <a:ext cx="233268" cy="331179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0" name="Google Shape;1090;p30"/>
            <p:cNvSpPr/>
            <p:nvPr/>
          </p:nvSpPr>
          <p:spPr>
            <a:xfrm rot="2153308" flipH="1">
              <a:off x="1827439" y="578552"/>
              <a:ext cx="469050" cy="449564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1" name="Google Shape;1091;p30"/>
            <p:cNvSpPr/>
            <p:nvPr/>
          </p:nvSpPr>
          <p:spPr>
            <a:xfrm rot="2153308" flipH="1">
              <a:off x="1825978" y="582028"/>
              <a:ext cx="470362" cy="449314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2" name="Google Shape;1092;p30"/>
            <p:cNvSpPr/>
            <p:nvPr/>
          </p:nvSpPr>
          <p:spPr>
            <a:xfrm rot="2153308" flipH="1">
              <a:off x="1884149" y="627167"/>
              <a:ext cx="367975" cy="35208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3" name="Google Shape;1093;p30"/>
            <p:cNvSpPr/>
            <p:nvPr/>
          </p:nvSpPr>
          <p:spPr>
            <a:xfrm rot="2153308" flipH="1">
              <a:off x="1999552" y="681156"/>
              <a:ext cx="242443" cy="344304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4" name="Google Shape;1094;p30"/>
            <p:cNvSpPr/>
            <p:nvPr/>
          </p:nvSpPr>
          <p:spPr>
            <a:xfrm rot="2153308" flipH="1">
              <a:off x="1827448" y="578539"/>
              <a:ext cx="469050" cy="449564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5" name="Google Shape;1095;p30"/>
            <p:cNvSpPr/>
            <p:nvPr/>
          </p:nvSpPr>
          <p:spPr>
            <a:xfrm rot="2153308" flipH="1">
              <a:off x="1825987" y="582015"/>
              <a:ext cx="470362" cy="449314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6" name="Google Shape;1096;p30"/>
            <p:cNvSpPr/>
            <p:nvPr/>
          </p:nvSpPr>
          <p:spPr>
            <a:xfrm rot="2153308" flipH="1">
              <a:off x="1884158" y="627155"/>
              <a:ext cx="367975" cy="35208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7" name="Google Shape;1097;p30"/>
            <p:cNvSpPr/>
            <p:nvPr/>
          </p:nvSpPr>
          <p:spPr>
            <a:xfrm rot="2153337" flipH="1">
              <a:off x="1999946" y="685554"/>
              <a:ext cx="233271" cy="331183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8" name="Google Shape;1098;p30"/>
            <p:cNvSpPr/>
            <p:nvPr/>
          </p:nvSpPr>
          <p:spPr>
            <a:xfrm flipH="1">
              <a:off x="549152" y="3931709"/>
              <a:ext cx="642127" cy="6154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9" name="Google Shape;1099;p30"/>
            <p:cNvSpPr/>
            <p:nvPr/>
          </p:nvSpPr>
          <p:spPr>
            <a:xfrm flipH="1">
              <a:off x="550050" y="3936243"/>
              <a:ext cx="643923" cy="61507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0" name="Google Shape;1100;p30"/>
            <p:cNvSpPr/>
            <p:nvPr/>
          </p:nvSpPr>
          <p:spPr>
            <a:xfrm flipH="1">
              <a:off x="625084" y="3993341"/>
              <a:ext cx="503756" cy="48197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1" name="Google Shape;1101;p30"/>
            <p:cNvSpPr/>
            <p:nvPr/>
          </p:nvSpPr>
          <p:spPr>
            <a:xfrm flipH="1">
              <a:off x="809595" y="4011989"/>
              <a:ext cx="331903" cy="47132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2" name="Google Shape;1102;p30"/>
            <p:cNvSpPr/>
            <p:nvPr/>
          </p:nvSpPr>
          <p:spPr>
            <a:xfrm flipH="1">
              <a:off x="549152" y="3931688"/>
              <a:ext cx="642127" cy="6154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3" name="Google Shape;1103;p30"/>
            <p:cNvSpPr/>
            <p:nvPr/>
          </p:nvSpPr>
          <p:spPr>
            <a:xfrm flipH="1">
              <a:off x="550050" y="3936221"/>
              <a:ext cx="643923" cy="61507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4" name="Google Shape;1104;p30"/>
            <p:cNvSpPr/>
            <p:nvPr/>
          </p:nvSpPr>
          <p:spPr>
            <a:xfrm flipH="1">
              <a:off x="625084" y="3993320"/>
              <a:ext cx="503756" cy="48197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5" name="Google Shape;1105;p30"/>
            <p:cNvSpPr/>
            <p:nvPr/>
          </p:nvSpPr>
          <p:spPr>
            <a:xfrm flipH="1">
              <a:off x="809491" y="4021937"/>
              <a:ext cx="319348" cy="45339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106" name="Google Shape;1106;p30"/>
          <p:cNvSpPr/>
          <p:nvPr/>
        </p:nvSpPr>
        <p:spPr>
          <a:xfrm flipH="1">
            <a:off x="6549803" y="267701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7" name="Google Shape;1107;p30"/>
          <p:cNvSpPr/>
          <p:nvPr/>
        </p:nvSpPr>
        <p:spPr>
          <a:xfrm flipH="1">
            <a:off x="9056775" y="2183784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8" name="Google Shape;1108;p30"/>
          <p:cNvSpPr/>
          <p:nvPr/>
        </p:nvSpPr>
        <p:spPr>
          <a:xfrm flipH="1">
            <a:off x="436926" y="2288635"/>
            <a:ext cx="2741407" cy="1401016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41406481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1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0" name="Google Shape;1110;p31"/>
          <p:cNvSpPr/>
          <p:nvPr/>
        </p:nvSpPr>
        <p:spPr>
          <a:xfrm flipH="1">
            <a:off x="9878847" y="329201"/>
            <a:ext cx="1518157" cy="775865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1" name="Google Shape;1111;p31"/>
          <p:cNvSpPr/>
          <p:nvPr/>
        </p:nvSpPr>
        <p:spPr>
          <a:xfrm flipH="1">
            <a:off x="-805859" y="541717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2" name="Google Shape;1112;p31"/>
          <p:cNvSpPr/>
          <p:nvPr/>
        </p:nvSpPr>
        <p:spPr>
          <a:xfrm flipH="1">
            <a:off x="8936918" y="4675834"/>
            <a:ext cx="1922980" cy="982753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3" name="Google Shape;1113;p31"/>
          <p:cNvSpPr/>
          <p:nvPr/>
        </p:nvSpPr>
        <p:spPr>
          <a:xfrm rot="924001" flipH="1">
            <a:off x="4386190" y="272247"/>
            <a:ext cx="512148" cy="4908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4" name="Google Shape;1114;p31"/>
          <p:cNvSpPr/>
          <p:nvPr/>
        </p:nvSpPr>
        <p:spPr>
          <a:xfrm rot="924001" flipH="1">
            <a:off x="4385930" y="276117"/>
            <a:ext cx="513580" cy="490563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5" name="Google Shape;1115;p31"/>
          <p:cNvSpPr/>
          <p:nvPr/>
        </p:nvSpPr>
        <p:spPr>
          <a:xfrm rot="924001" flipH="1">
            <a:off x="4447637" y="322978"/>
            <a:ext cx="401785" cy="384407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6" name="Google Shape;1116;p31"/>
          <p:cNvSpPr/>
          <p:nvPr/>
        </p:nvSpPr>
        <p:spPr>
          <a:xfrm rot="924001" flipH="1">
            <a:off x="4589154" y="358349"/>
            <a:ext cx="264719" cy="375912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7" name="Google Shape;1117;p31"/>
          <p:cNvSpPr/>
          <p:nvPr/>
        </p:nvSpPr>
        <p:spPr>
          <a:xfrm rot="924001" flipH="1">
            <a:off x="4386194" y="272229"/>
            <a:ext cx="512148" cy="4908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8" name="Google Shape;1118;p31"/>
          <p:cNvSpPr/>
          <p:nvPr/>
        </p:nvSpPr>
        <p:spPr>
          <a:xfrm rot="924001" flipH="1">
            <a:off x="4385935" y="276101"/>
            <a:ext cx="513580" cy="490563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9" name="Google Shape;1119;p31"/>
          <p:cNvSpPr/>
          <p:nvPr/>
        </p:nvSpPr>
        <p:spPr>
          <a:xfrm rot="924001" flipH="1">
            <a:off x="4447641" y="322962"/>
            <a:ext cx="401785" cy="384407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0" name="Google Shape;1120;p31"/>
          <p:cNvSpPr/>
          <p:nvPr/>
        </p:nvSpPr>
        <p:spPr>
          <a:xfrm rot="924250" flipH="1">
            <a:off x="4589031" y="364892"/>
            <a:ext cx="254715" cy="36162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1" name="Google Shape;1121;p31"/>
          <p:cNvSpPr/>
          <p:nvPr/>
        </p:nvSpPr>
        <p:spPr>
          <a:xfrm rot="1473651" flipH="1">
            <a:off x="297329" y="5973359"/>
            <a:ext cx="625377" cy="5994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2" name="Google Shape;1122;p31"/>
          <p:cNvSpPr/>
          <p:nvPr/>
        </p:nvSpPr>
        <p:spPr>
          <a:xfrm rot="1473651" flipH="1">
            <a:off x="296279" y="5978118"/>
            <a:ext cx="627127" cy="599087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3" name="Google Shape;1123;p31"/>
          <p:cNvSpPr/>
          <p:nvPr/>
        </p:nvSpPr>
        <p:spPr>
          <a:xfrm rot="1473651" flipH="1">
            <a:off x="372740" y="6036564"/>
            <a:ext cx="490616" cy="469445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4" name="Google Shape;1124;p31"/>
          <p:cNvSpPr/>
          <p:nvPr/>
        </p:nvSpPr>
        <p:spPr>
          <a:xfrm rot="1473651" flipH="1">
            <a:off x="538359" y="6093462"/>
            <a:ext cx="323245" cy="45907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5" name="Google Shape;1125;p31"/>
          <p:cNvSpPr/>
          <p:nvPr/>
        </p:nvSpPr>
        <p:spPr>
          <a:xfrm rot="1473651" flipH="1">
            <a:off x="297337" y="5973341"/>
            <a:ext cx="625377" cy="5994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6" name="Google Shape;1126;p31"/>
          <p:cNvSpPr/>
          <p:nvPr/>
        </p:nvSpPr>
        <p:spPr>
          <a:xfrm rot="1473651" flipH="1">
            <a:off x="296287" y="5978099"/>
            <a:ext cx="627127" cy="599087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7" name="Google Shape;1127;p31"/>
          <p:cNvSpPr/>
          <p:nvPr/>
        </p:nvSpPr>
        <p:spPr>
          <a:xfrm rot="1473651" flipH="1">
            <a:off x="372749" y="6036546"/>
            <a:ext cx="490616" cy="469445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8" name="Google Shape;1128;p31"/>
          <p:cNvSpPr/>
          <p:nvPr/>
        </p:nvSpPr>
        <p:spPr>
          <a:xfrm rot="1473785" flipH="1">
            <a:off x="538412" y="6100468"/>
            <a:ext cx="311019" cy="441565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9" name="Google Shape;1129;p31"/>
          <p:cNvSpPr/>
          <p:nvPr/>
        </p:nvSpPr>
        <p:spPr>
          <a:xfrm flipH="1">
            <a:off x="10763137" y="2757930"/>
            <a:ext cx="856169" cy="820557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0" name="Google Shape;1130;p31"/>
          <p:cNvSpPr/>
          <p:nvPr/>
        </p:nvSpPr>
        <p:spPr>
          <a:xfrm flipH="1">
            <a:off x="10764334" y="2763974"/>
            <a:ext cx="858564" cy="82010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1" name="Google Shape;1131;p31"/>
          <p:cNvSpPr/>
          <p:nvPr/>
        </p:nvSpPr>
        <p:spPr>
          <a:xfrm flipH="1">
            <a:off x="10864379" y="2840106"/>
            <a:ext cx="671675" cy="64263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2" name="Google Shape;1132;p31"/>
          <p:cNvSpPr/>
          <p:nvPr/>
        </p:nvSpPr>
        <p:spPr>
          <a:xfrm flipH="1">
            <a:off x="11110394" y="2864970"/>
            <a:ext cx="442537" cy="62843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3" name="Google Shape;1133;p31"/>
          <p:cNvSpPr/>
          <p:nvPr/>
        </p:nvSpPr>
        <p:spPr>
          <a:xfrm flipH="1">
            <a:off x="10763137" y="2757900"/>
            <a:ext cx="856169" cy="820557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4" name="Google Shape;1134;p31"/>
          <p:cNvSpPr/>
          <p:nvPr/>
        </p:nvSpPr>
        <p:spPr>
          <a:xfrm flipH="1">
            <a:off x="10764334" y="2763946"/>
            <a:ext cx="858564" cy="82010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5" name="Google Shape;1135;p31"/>
          <p:cNvSpPr/>
          <p:nvPr/>
        </p:nvSpPr>
        <p:spPr>
          <a:xfrm flipH="1">
            <a:off x="10864379" y="2840077"/>
            <a:ext cx="671675" cy="64263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6" name="Google Shape;1136;p31"/>
          <p:cNvSpPr/>
          <p:nvPr/>
        </p:nvSpPr>
        <p:spPr>
          <a:xfrm flipH="1">
            <a:off x="11110255" y="2878233"/>
            <a:ext cx="425797" cy="604520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654364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062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0530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2"/>
          <p:cNvSpPr/>
          <p:nvPr/>
        </p:nvSpPr>
        <p:spPr>
          <a:xfrm rot="1356523" flipH="1">
            <a:off x="9812640" y="-138396"/>
            <a:ext cx="15520" cy="46096"/>
          </a:xfrm>
          <a:custGeom>
            <a:avLst/>
            <a:gdLst/>
            <a:ahLst/>
            <a:cxnLst/>
            <a:rect l="l" t="t" r="r" b="b"/>
            <a:pathLst>
              <a:path w="368" h="1093" extrusionOk="0">
                <a:moveTo>
                  <a:pt x="334" y="0"/>
                </a:moveTo>
                <a:cubicBezTo>
                  <a:pt x="368" y="200"/>
                  <a:pt x="334" y="367"/>
                  <a:pt x="301" y="567"/>
                </a:cubicBezTo>
                <a:cubicBezTo>
                  <a:pt x="268" y="734"/>
                  <a:pt x="168" y="901"/>
                  <a:pt x="34" y="1034"/>
                </a:cubicBezTo>
                <a:cubicBezTo>
                  <a:pt x="1" y="1034"/>
                  <a:pt x="1" y="1067"/>
                  <a:pt x="34" y="1067"/>
                </a:cubicBezTo>
                <a:cubicBezTo>
                  <a:pt x="34" y="1084"/>
                  <a:pt x="34" y="1092"/>
                  <a:pt x="38" y="1092"/>
                </a:cubicBezTo>
                <a:cubicBezTo>
                  <a:pt x="43" y="1092"/>
                  <a:pt x="51" y="1084"/>
                  <a:pt x="68" y="1067"/>
                </a:cubicBezTo>
                <a:cubicBezTo>
                  <a:pt x="201" y="934"/>
                  <a:pt x="301" y="767"/>
                  <a:pt x="334" y="567"/>
                </a:cubicBezTo>
                <a:cubicBezTo>
                  <a:pt x="368" y="367"/>
                  <a:pt x="368" y="200"/>
                  <a:pt x="334" y="0"/>
                </a:cubicBezTo>
                <a:close/>
              </a:path>
            </a:pathLst>
          </a:custGeom>
          <a:solidFill>
            <a:srgbClr val="11675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8" name="Google Shape;478;p12"/>
          <p:cNvSpPr/>
          <p:nvPr/>
        </p:nvSpPr>
        <p:spPr>
          <a:xfrm>
            <a:off x="8993743" y="6938530"/>
            <a:ext cx="652357" cy="71767"/>
          </a:xfrm>
          <a:custGeom>
            <a:avLst/>
            <a:gdLst/>
            <a:ahLst/>
            <a:cxnLst/>
            <a:rect l="l" t="t" r="r" b="b"/>
            <a:pathLst>
              <a:path w="16446" h="2069" extrusionOk="0">
                <a:moveTo>
                  <a:pt x="0" y="0"/>
                </a:moveTo>
                <a:lnTo>
                  <a:pt x="0" y="2069"/>
                </a:lnTo>
                <a:lnTo>
                  <a:pt x="16445" y="2069"/>
                </a:lnTo>
                <a:lnTo>
                  <a:pt x="1644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31876849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8B8862C-D5F2-32C6-D504-D452A52C88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6C63A52-2627-92F3-5A30-235217CDE614}"/>
              </a:ext>
            </a:extLst>
          </p:cNvPr>
          <p:cNvSpPr/>
          <p:nvPr userDrawn="1"/>
        </p:nvSpPr>
        <p:spPr>
          <a:xfrm>
            <a:off x="228600" y="228600"/>
            <a:ext cx="11811000" cy="6539864"/>
          </a:xfrm>
          <a:custGeom>
            <a:avLst/>
            <a:gdLst>
              <a:gd name="connsiteX0" fmla="*/ 0 w 11811000"/>
              <a:gd name="connsiteY0" fmla="*/ 276309 h 6539864"/>
              <a:gd name="connsiteX1" fmla="*/ 276309 w 11811000"/>
              <a:gd name="connsiteY1" fmla="*/ 0 h 6539864"/>
              <a:gd name="connsiteX2" fmla="*/ 713399 w 11811000"/>
              <a:gd name="connsiteY2" fmla="*/ 0 h 6539864"/>
              <a:gd name="connsiteX3" fmla="*/ 1037905 w 11811000"/>
              <a:gd name="connsiteY3" fmla="*/ 0 h 6539864"/>
              <a:gd name="connsiteX4" fmla="*/ 1812747 w 11811000"/>
              <a:gd name="connsiteY4" fmla="*/ 0 h 6539864"/>
              <a:gd name="connsiteX5" fmla="*/ 2137253 w 11811000"/>
              <a:gd name="connsiteY5" fmla="*/ 0 h 6539864"/>
              <a:gd name="connsiteX6" fmla="*/ 2574343 w 11811000"/>
              <a:gd name="connsiteY6" fmla="*/ 0 h 6539864"/>
              <a:gd name="connsiteX7" fmla="*/ 3124017 w 11811000"/>
              <a:gd name="connsiteY7" fmla="*/ 0 h 6539864"/>
              <a:gd name="connsiteX8" fmla="*/ 3561108 w 11811000"/>
              <a:gd name="connsiteY8" fmla="*/ 0 h 6539864"/>
              <a:gd name="connsiteX9" fmla="*/ 4223365 w 11811000"/>
              <a:gd name="connsiteY9" fmla="*/ 0 h 6539864"/>
              <a:gd name="connsiteX10" fmla="*/ 4660455 w 11811000"/>
              <a:gd name="connsiteY10" fmla="*/ 0 h 6539864"/>
              <a:gd name="connsiteX11" fmla="*/ 4984962 w 11811000"/>
              <a:gd name="connsiteY11" fmla="*/ 0 h 6539864"/>
              <a:gd name="connsiteX12" fmla="*/ 5647219 w 11811000"/>
              <a:gd name="connsiteY12" fmla="*/ 0 h 6539864"/>
              <a:gd name="connsiteX13" fmla="*/ 6309477 w 11811000"/>
              <a:gd name="connsiteY13" fmla="*/ 0 h 6539864"/>
              <a:gd name="connsiteX14" fmla="*/ 6971735 w 11811000"/>
              <a:gd name="connsiteY14" fmla="*/ 0 h 6539864"/>
              <a:gd name="connsiteX15" fmla="*/ 7521409 w 11811000"/>
              <a:gd name="connsiteY15" fmla="*/ 0 h 6539864"/>
              <a:gd name="connsiteX16" fmla="*/ 8408834 w 11811000"/>
              <a:gd name="connsiteY16" fmla="*/ 0 h 6539864"/>
              <a:gd name="connsiteX17" fmla="*/ 8958508 w 11811000"/>
              <a:gd name="connsiteY17" fmla="*/ 0 h 6539864"/>
              <a:gd name="connsiteX18" fmla="*/ 9845934 w 11811000"/>
              <a:gd name="connsiteY18" fmla="*/ 0 h 6539864"/>
              <a:gd name="connsiteX19" fmla="*/ 10508191 w 11811000"/>
              <a:gd name="connsiteY19" fmla="*/ 0 h 6539864"/>
              <a:gd name="connsiteX20" fmla="*/ 11534691 w 11811000"/>
              <a:gd name="connsiteY20" fmla="*/ 0 h 6539864"/>
              <a:gd name="connsiteX21" fmla="*/ 11811000 w 11811000"/>
              <a:gd name="connsiteY21" fmla="*/ 276309 h 6539864"/>
              <a:gd name="connsiteX22" fmla="*/ 11811000 w 11811000"/>
              <a:gd name="connsiteY22" fmla="*/ 1001431 h 6539864"/>
              <a:gd name="connsiteX23" fmla="*/ 11811000 w 11811000"/>
              <a:gd name="connsiteY23" fmla="*/ 1546936 h 6539864"/>
              <a:gd name="connsiteX24" fmla="*/ 11811000 w 11811000"/>
              <a:gd name="connsiteY24" fmla="*/ 2212185 h 6539864"/>
              <a:gd name="connsiteX25" fmla="*/ 11811000 w 11811000"/>
              <a:gd name="connsiteY25" fmla="*/ 2997180 h 6539864"/>
              <a:gd name="connsiteX26" fmla="*/ 11811000 w 11811000"/>
              <a:gd name="connsiteY26" fmla="*/ 3482812 h 6539864"/>
              <a:gd name="connsiteX27" fmla="*/ 11811000 w 11811000"/>
              <a:gd name="connsiteY27" fmla="*/ 4028316 h 6539864"/>
              <a:gd name="connsiteX28" fmla="*/ 11811000 w 11811000"/>
              <a:gd name="connsiteY28" fmla="*/ 4693566 h 6539864"/>
              <a:gd name="connsiteX29" fmla="*/ 11811000 w 11811000"/>
              <a:gd name="connsiteY29" fmla="*/ 5179198 h 6539864"/>
              <a:gd name="connsiteX30" fmla="*/ 11811000 w 11811000"/>
              <a:gd name="connsiteY30" fmla="*/ 6263555 h 6539864"/>
              <a:gd name="connsiteX31" fmla="*/ 11534691 w 11811000"/>
              <a:gd name="connsiteY31" fmla="*/ 6539864 h 6539864"/>
              <a:gd name="connsiteX32" fmla="*/ 10647266 w 11811000"/>
              <a:gd name="connsiteY32" fmla="*/ 6539864 h 6539864"/>
              <a:gd name="connsiteX33" fmla="*/ 9985008 w 11811000"/>
              <a:gd name="connsiteY33" fmla="*/ 6539864 h 6539864"/>
              <a:gd name="connsiteX34" fmla="*/ 9435334 w 11811000"/>
              <a:gd name="connsiteY34" fmla="*/ 6539864 h 6539864"/>
              <a:gd name="connsiteX35" fmla="*/ 8998244 w 11811000"/>
              <a:gd name="connsiteY35" fmla="*/ 6539864 h 6539864"/>
              <a:gd name="connsiteX36" fmla="*/ 8448570 w 11811000"/>
              <a:gd name="connsiteY36" fmla="*/ 6539864 h 6539864"/>
              <a:gd name="connsiteX37" fmla="*/ 7673728 w 11811000"/>
              <a:gd name="connsiteY37" fmla="*/ 6539864 h 6539864"/>
              <a:gd name="connsiteX38" fmla="*/ 6898887 w 11811000"/>
              <a:gd name="connsiteY38" fmla="*/ 6539864 h 6539864"/>
              <a:gd name="connsiteX39" fmla="*/ 6574380 w 11811000"/>
              <a:gd name="connsiteY39" fmla="*/ 6539864 h 6539864"/>
              <a:gd name="connsiteX40" fmla="*/ 6024706 w 11811000"/>
              <a:gd name="connsiteY40" fmla="*/ 6539864 h 6539864"/>
              <a:gd name="connsiteX41" fmla="*/ 5475032 w 11811000"/>
              <a:gd name="connsiteY41" fmla="*/ 6539864 h 6539864"/>
              <a:gd name="connsiteX42" fmla="*/ 4812775 w 11811000"/>
              <a:gd name="connsiteY42" fmla="*/ 6539864 h 6539864"/>
              <a:gd name="connsiteX43" fmla="*/ 4263101 w 11811000"/>
              <a:gd name="connsiteY43" fmla="*/ 6539864 h 6539864"/>
              <a:gd name="connsiteX44" fmla="*/ 3375675 w 11811000"/>
              <a:gd name="connsiteY44" fmla="*/ 6539864 h 6539864"/>
              <a:gd name="connsiteX45" fmla="*/ 3051169 w 11811000"/>
              <a:gd name="connsiteY45" fmla="*/ 6539864 h 6539864"/>
              <a:gd name="connsiteX46" fmla="*/ 2388911 w 11811000"/>
              <a:gd name="connsiteY46" fmla="*/ 6539864 h 6539864"/>
              <a:gd name="connsiteX47" fmla="*/ 1614070 w 11811000"/>
              <a:gd name="connsiteY47" fmla="*/ 6539864 h 6539864"/>
              <a:gd name="connsiteX48" fmla="*/ 1064396 w 11811000"/>
              <a:gd name="connsiteY48" fmla="*/ 6539864 h 6539864"/>
              <a:gd name="connsiteX49" fmla="*/ 276309 w 11811000"/>
              <a:gd name="connsiteY49" fmla="*/ 6539864 h 6539864"/>
              <a:gd name="connsiteX50" fmla="*/ 0 w 11811000"/>
              <a:gd name="connsiteY50" fmla="*/ 6263555 h 6539864"/>
              <a:gd name="connsiteX51" fmla="*/ 0 w 11811000"/>
              <a:gd name="connsiteY51" fmla="*/ 5718050 h 6539864"/>
              <a:gd name="connsiteX52" fmla="*/ 0 w 11811000"/>
              <a:gd name="connsiteY52" fmla="*/ 4933056 h 6539864"/>
              <a:gd name="connsiteX53" fmla="*/ 0 w 11811000"/>
              <a:gd name="connsiteY53" fmla="*/ 4267806 h 6539864"/>
              <a:gd name="connsiteX54" fmla="*/ 0 w 11811000"/>
              <a:gd name="connsiteY54" fmla="*/ 3722302 h 6539864"/>
              <a:gd name="connsiteX55" fmla="*/ 0 w 11811000"/>
              <a:gd name="connsiteY55" fmla="*/ 3057052 h 6539864"/>
              <a:gd name="connsiteX56" fmla="*/ 0 w 11811000"/>
              <a:gd name="connsiteY56" fmla="*/ 2272058 h 6539864"/>
              <a:gd name="connsiteX57" fmla="*/ 0 w 11811000"/>
              <a:gd name="connsiteY57" fmla="*/ 1666681 h 6539864"/>
              <a:gd name="connsiteX58" fmla="*/ 0 w 11811000"/>
              <a:gd name="connsiteY58" fmla="*/ 1061303 h 6539864"/>
              <a:gd name="connsiteX59" fmla="*/ 0 w 11811000"/>
              <a:gd name="connsiteY59" fmla="*/ 276309 h 6539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1811000" h="6539864" fill="none" extrusionOk="0">
                <a:moveTo>
                  <a:pt x="0" y="276309"/>
                </a:moveTo>
                <a:cubicBezTo>
                  <a:pt x="7503" y="117353"/>
                  <a:pt x="120173" y="876"/>
                  <a:pt x="276309" y="0"/>
                </a:cubicBezTo>
                <a:cubicBezTo>
                  <a:pt x="390753" y="-13998"/>
                  <a:pt x="519303" y="7231"/>
                  <a:pt x="713399" y="0"/>
                </a:cubicBezTo>
                <a:cubicBezTo>
                  <a:pt x="907495" y="-7231"/>
                  <a:pt x="921623" y="-3982"/>
                  <a:pt x="1037905" y="0"/>
                </a:cubicBezTo>
                <a:cubicBezTo>
                  <a:pt x="1154187" y="3982"/>
                  <a:pt x="1628628" y="21970"/>
                  <a:pt x="1812747" y="0"/>
                </a:cubicBezTo>
                <a:cubicBezTo>
                  <a:pt x="1996866" y="-21970"/>
                  <a:pt x="2070800" y="10455"/>
                  <a:pt x="2137253" y="0"/>
                </a:cubicBezTo>
                <a:cubicBezTo>
                  <a:pt x="2203706" y="-10455"/>
                  <a:pt x="2459510" y="-21376"/>
                  <a:pt x="2574343" y="0"/>
                </a:cubicBezTo>
                <a:cubicBezTo>
                  <a:pt x="2689176" y="21376"/>
                  <a:pt x="2851821" y="-17883"/>
                  <a:pt x="3124017" y="0"/>
                </a:cubicBezTo>
                <a:cubicBezTo>
                  <a:pt x="3396213" y="17883"/>
                  <a:pt x="3378501" y="-9716"/>
                  <a:pt x="3561108" y="0"/>
                </a:cubicBezTo>
                <a:cubicBezTo>
                  <a:pt x="3743715" y="9716"/>
                  <a:pt x="3957040" y="-22614"/>
                  <a:pt x="4223365" y="0"/>
                </a:cubicBezTo>
                <a:cubicBezTo>
                  <a:pt x="4489690" y="22614"/>
                  <a:pt x="4482566" y="4443"/>
                  <a:pt x="4660455" y="0"/>
                </a:cubicBezTo>
                <a:cubicBezTo>
                  <a:pt x="4838344" y="-4443"/>
                  <a:pt x="4827198" y="13475"/>
                  <a:pt x="4984962" y="0"/>
                </a:cubicBezTo>
                <a:cubicBezTo>
                  <a:pt x="5142726" y="-13475"/>
                  <a:pt x="5408741" y="-32026"/>
                  <a:pt x="5647219" y="0"/>
                </a:cubicBezTo>
                <a:cubicBezTo>
                  <a:pt x="5885697" y="32026"/>
                  <a:pt x="6061324" y="16924"/>
                  <a:pt x="6309477" y="0"/>
                </a:cubicBezTo>
                <a:cubicBezTo>
                  <a:pt x="6557630" y="-16924"/>
                  <a:pt x="6731921" y="21199"/>
                  <a:pt x="6971735" y="0"/>
                </a:cubicBezTo>
                <a:cubicBezTo>
                  <a:pt x="7211549" y="-21199"/>
                  <a:pt x="7410709" y="-22981"/>
                  <a:pt x="7521409" y="0"/>
                </a:cubicBezTo>
                <a:cubicBezTo>
                  <a:pt x="7632109" y="22981"/>
                  <a:pt x="8183644" y="-36572"/>
                  <a:pt x="8408834" y="0"/>
                </a:cubicBezTo>
                <a:cubicBezTo>
                  <a:pt x="8634024" y="36572"/>
                  <a:pt x="8810731" y="464"/>
                  <a:pt x="8958508" y="0"/>
                </a:cubicBezTo>
                <a:cubicBezTo>
                  <a:pt x="9106285" y="-464"/>
                  <a:pt x="9554448" y="-657"/>
                  <a:pt x="9845934" y="0"/>
                </a:cubicBezTo>
                <a:cubicBezTo>
                  <a:pt x="10137420" y="657"/>
                  <a:pt x="10294741" y="3156"/>
                  <a:pt x="10508191" y="0"/>
                </a:cubicBezTo>
                <a:cubicBezTo>
                  <a:pt x="10721641" y="-3156"/>
                  <a:pt x="11169757" y="-23281"/>
                  <a:pt x="11534691" y="0"/>
                </a:cubicBezTo>
                <a:cubicBezTo>
                  <a:pt x="11686405" y="30281"/>
                  <a:pt x="11789483" y="102266"/>
                  <a:pt x="11811000" y="276309"/>
                </a:cubicBezTo>
                <a:cubicBezTo>
                  <a:pt x="11783989" y="629313"/>
                  <a:pt x="11803715" y="849248"/>
                  <a:pt x="11811000" y="1001431"/>
                </a:cubicBezTo>
                <a:cubicBezTo>
                  <a:pt x="11818285" y="1153614"/>
                  <a:pt x="11786666" y="1343496"/>
                  <a:pt x="11811000" y="1546936"/>
                </a:cubicBezTo>
                <a:cubicBezTo>
                  <a:pt x="11835334" y="1750377"/>
                  <a:pt x="11830199" y="1918680"/>
                  <a:pt x="11811000" y="2212185"/>
                </a:cubicBezTo>
                <a:cubicBezTo>
                  <a:pt x="11791801" y="2505690"/>
                  <a:pt x="11778524" y="2743617"/>
                  <a:pt x="11811000" y="2997180"/>
                </a:cubicBezTo>
                <a:cubicBezTo>
                  <a:pt x="11843476" y="3250743"/>
                  <a:pt x="11802263" y="3243832"/>
                  <a:pt x="11811000" y="3482812"/>
                </a:cubicBezTo>
                <a:cubicBezTo>
                  <a:pt x="11819737" y="3721792"/>
                  <a:pt x="11801145" y="3807336"/>
                  <a:pt x="11811000" y="4028316"/>
                </a:cubicBezTo>
                <a:cubicBezTo>
                  <a:pt x="11820855" y="4249296"/>
                  <a:pt x="11824002" y="4522096"/>
                  <a:pt x="11811000" y="4693566"/>
                </a:cubicBezTo>
                <a:cubicBezTo>
                  <a:pt x="11797999" y="4865036"/>
                  <a:pt x="11787768" y="4979749"/>
                  <a:pt x="11811000" y="5179198"/>
                </a:cubicBezTo>
                <a:cubicBezTo>
                  <a:pt x="11834232" y="5378647"/>
                  <a:pt x="11824820" y="5775744"/>
                  <a:pt x="11811000" y="6263555"/>
                </a:cubicBezTo>
                <a:cubicBezTo>
                  <a:pt x="11820168" y="6432874"/>
                  <a:pt x="11693865" y="6527210"/>
                  <a:pt x="11534691" y="6539864"/>
                </a:cubicBezTo>
                <a:cubicBezTo>
                  <a:pt x="11328979" y="6573097"/>
                  <a:pt x="10851794" y="6576898"/>
                  <a:pt x="10647266" y="6539864"/>
                </a:cubicBezTo>
                <a:cubicBezTo>
                  <a:pt x="10442738" y="6502830"/>
                  <a:pt x="10188245" y="6536482"/>
                  <a:pt x="9985008" y="6539864"/>
                </a:cubicBezTo>
                <a:cubicBezTo>
                  <a:pt x="9781771" y="6543246"/>
                  <a:pt x="9655399" y="6535718"/>
                  <a:pt x="9435334" y="6539864"/>
                </a:cubicBezTo>
                <a:cubicBezTo>
                  <a:pt x="9215269" y="6544010"/>
                  <a:pt x="9174278" y="6521901"/>
                  <a:pt x="8998244" y="6539864"/>
                </a:cubicBezTo>
                <a:cubicBezTo>
                  <a:pt x="8822210" y="6557828"/>
                  <a:pt x="8695160" y="6523053"/>
                  <a:pt x="8448570" y="6539864"/>
                </a:cubicBezTo>
                <a:cubicBezTo>
                  <a:pt x="8201980" y="6556675"/>
                  <a:pt x="8057062" y="6549860"/>
                  <a:pt x="7673728" y="6539864"/>
                </a:cubicBezTo>
                <a:cubicBezTo>
                  <a:pt x="7290394" y="6529868"/>
                  <a:pt x="7073721" y="6518109"/>
                  <a:pt x="6898887" y="6539864"/>
                </a:cubicBezTo>
                <a:cubicBezTo>
                  <a:pt x="6724053" y="6561619"/>
                  <a:pt x="6673636" y="6542743"/>
                  <a:pt x="6574380" y="6539864"/>
                </a:cubicBezTo>
                <a:cubicBezTo>
                  <a:pt x="6475124" y="6536985"/>
                  <a:pt x="6236107" y="6527822"/>
                  <a:pt x="6024706" y="6539864"/>
                </a:cubicBezTo>
                <a:cubicBezTo>
                  <a:pt x="5813305" y="6551906"/>
                  <a:pt x="5730978" y="6561993"/>
                  <a:pt x="5475032" y="6539864"/>
                </a:cubicBezTo>
                <a:cubicBezTo>
                  <a:pt x="5219086" y="6517735"/>
                  <a:pt x="5099294" y="6527365"/>
                  <a:pt x="4812775" y="6539864"/>
                </a:cubicBezTo>
                <a:cubicBezTo>
                  <a:pt x="4526256" y="6552363"/>
                  <a:pt x="4495982" y="6543126"/>
                  <a:pt x="4263101" y="6539864"/>
                </a:cubicBezTo>
                <a:cubicBezTo>
                  <a:pt x="4030220" y="6536602"/>
                  <a:pt x="3784956" y="6574385"/>
                  <a:pt x="3375675" y="6539864"/>
                </a:cubicBezTo>
                <a:cubicBezTo>
                  <a:pt x="2966394" y="6505343"/>
                  <a:pt x="3135924" y="6527838"/>
                  <a:pt x="3051169" y="6539864"/>
                </a:cubicBezTo>
                <a:cubicBezTo>
                  <a:pt x="2966414" y="6551890"/>
                  <a:pt x="2690961" y="6524046"/>
                  <a:pt x="2388911" y="6539864"/>
                </a:cubicBezTo>
                <a:cubicBezTo>
                  <a:pt x="2086861" y="6555682"/>
                  <a:pt x="1863389" y="6540751"/>
                  <a:pt x="1614070" y="6539864"/>
                </a:cubicBezTo>
                <a:cubicBezTo>
                  <a:pt x="1364751" y="6538977"/>
                  <a:pt x="1291765" y="6521886"/>
                  <a:pt x="1064396" y="6539864"/>
                </a:cubicBezTo>
                <a:cubicBezTo>
                  <a:pt x="837027" y="6557842"/>
                  <a:pt x="547291" y="6542932"/>
                  <a:pt x="276309" y="6539864"/>
                </a:cubicBezTo>
                <a:cubicBezTo>
                  <a:pt x="130934" y="6520487"/>
                  <a:pt x="-22581" y="6398236"/>
                  <a:pt x="0" y="6263555"/>
                </a:cubicBezTo>
                <a:cubicBezTo>
                  <a:pt x="4468" y="6084194"/>
                  <a:pt x="-2016" y="5887631"/>
                  <a:pt x="0" y="5718050"/>
                </a:cubicBezTo>
                <a:cubicBezTo>
                  <a:pt x="2016" y="5548469"/>
                  <a:pt x="17236" y="5177974"/>
                  <a:pt x="0" y="4933056"/>
                </a:cubicBezTo>
                <a:cubicBezTo>
                  <a:pt x="-17236" y="4688138"/>
                  <a:pt x="30289" y="4592748"/>
                  <a:pt x="0" y="4267806"/>
                </a:cubicBezTo>
                <a:cubicBezTo>
                  <a:pt x="-30289" y="3942864"/>
                  <a:pt x="-14872" y="3895665"/>
                  <a:pt x="0" y="3722302"/>
                </a:cubicBezTo>
                <a:cubicBezTo>
                  <a:pt x="14872" y="3548939"/>
                  <a:pt x="-12413" y="3380923"/>
                  <a:pt x="0" y="3057052"/>
                </a:cubicBezTo>
                <a:cubicBezTo>
                  <a:pt x="12413" y="2733181"/>
                  <a:pt x="25179" y="2623577"/>
                  <a:pt x="0" y="2272058"/>
                </a:cubicBezTo>
                <a:cubicBezTo>
                  <a:pt x="-25179" y="1920539"/>
                  <a:pt x="5940" y="1924738"/>
                  <a:pt x="0" y="1666681"/>
                </a:cubicBezTo>
                <a:cubicBezTo>
                  <a:pt x="-5940" y="1408624"/>
                  <a:pt x="21070" y="1224865"/>
                  <a:pt x="0" y="1061303"/>
                </a:cubicBezTo>
                <a:cubicBezTo>
                  <a:pt x="-21070" y="897741"/>
                  <a:pt x="38394" y="533993"/>
                  <a:pt x="0" y="276309"/>
                </a:cubicBezTo>
                <a:close/>
              </a:path>
              <a:path w="11811000" h="6539864" stroke="0" extrusionOk="0">
                <a:moveTo>
                  <a:pt x="0" y="276309"/>
                </a:moveTo>
                <a:cubicBezTo>
                  <a:pt x="20890" y="133639"/>
                  <a:pt x="93626" y="-23293"/>
                  <a:pt x="276309" y="0"/>
                </a:cubicBezTo>
                <a:cubicBezTo>
                  <a:pt x="495014" y="-6512"/>
                  <a:pt x="781700" y="14060"/>
                  <a:pt x="938567" y="0"/>
                </a:cubicBezTo>
                <a:cubicBezTo>
                  <a:pt x="1095434" y="-14060"/>
                  <a:pt x="1317075" y="-3727"/>
                  <a:pt x="1488241" y="0"/>
                </a:cubicBezTo>
                <a:cubicBezTo>
                  <a:pt x="1659407" y="3727"/>
                  <a:pt x="1740036" y="-9857"/>
                  <a:pt x="1812747" y="0"/>
                </a:cubicBezTo>
                <a:cubicBezTo>
                  <a:pt x="1885458" y="9857"/>
                  <a:pt x="2298351" y="-29244"/>
                  <a:pt x="2587589" y="0"/>
                </a:cubicBezTo>
                <a:cubicBezTo>
                  <a:pt x="2876827" y="29244"/>
                  <a:pt x="3156670" y="38040"/>
                  <a:pt x="3362430" y="0"/>
                </a:cubicBezTo>
                <a:cubicBezTo>
                  <a:pt x="3568190" y="-38040"/>
                  <a:pt x="3537636" y="-3311"/>
                  <a:pt x="3686936" y="0"/>
                </a:cubicBezTo>
                <a:cubicBezTo>
                  <a:pt x="3836236" y="3311"/>
                  <a:pt x="4174849" y="-33726"/>
                  <a:pt x="4574362" y="0"/>
                </a:cubicBezTo>
                <a:cubicBezTo>
                  <a:pt x="4973875" y="33726"/>
                  <a:pt x="4799209" y="-8541"/>
                  <a:pt x="4898868" y="0"/>
                </a:cubicBezTo>
                <a:cubicBezTo>
                  <a:pt x="4998527" y="8541"/>
                  <a:pt x="5398846" y="16779"/>
                  <a:pt x="5561126" y="0"/>
                </a:cubicBezTo>
                <a:cubicBezTo>
                  <a:pt x="5723406" y="-16779"/>
                  <a:pt x="5908484" y="20871"/>
                  <a:pt x="5998216" y="0"/>
                </a:cubicBezTo>
                <a:cubicBezTo>
                  <a:pt x="6087948" y="-20871"/>
                  <a:pt x="6401464" y="-28369"/>
                  <a:pt x="6773058" y="0"/>
                </a:cubicBezTo>
                <a:cubicBezTo>
                  <a:pt x="7144652" y="28369"/>
                  <a:pt x="7025774" y="9082"/>
                  <a:pt x="7210148" y="0"/>
                </a:cubicBezTo>
                <a:cubicBezTo>
                  <a:pt x="7394522" y="-9082"/>
                  <a:pt x="7438945" y="-16116"/>
                  <a:pt x="7534654" y="0"/>
                </a:cubicBezTo>
                <a:cubicBezTo>
                  <a:pt x="7630363" y="16116"/>
                  <a:pt x="7995229" y="15477"/>
                  <a:pt x="8422080" y="0"/>
                </a:cubicBezTo>
                <a:cubicBezTo>
                  <a:pt x="8848931" y="-15477"/>
                  <a:pt x="8934132" y="37097"/>
                  <a:pt x="9309505" y="0"/>
                </a:cubicBezTo>
                <a:cubicBezTo>
                  <a:pt x="9684879" y="-37097"/>
                  <a:pt x="9898525" y="23021"/>
                  <a:pt x="10084346" y="0"/>
                </a:cubicBezTo>
                <a:cubicBezTo>
                  <a:pt x="10270167" y="-23021"/>
                  <a:pt x="10295875" y="-10612"/>
                  <a:pt x="10408853" y="0"/>
                </a:cubicBezTo>
                <a:cubicBezTo>
                  <a:pt x="10521831" y="10612"/>
                  <a:pt x="11060954" y="2622"/>
                  <a:pt x="11534691" y="0"/>
                </a:cubicBezTo>
                <a:cubicBezTo>
                  <a:pt x="11669686" y="-5469"/>
                  <a:pt x="11776528" y="132029"/>
                  <a:pt x="11811000" y="276309"/>
                </a:cubicBezTo>
                <a:cubicBezTo>
                  <a:pt x="11796287" y="442217"/>
                  <a:pt x="11822438" y="627172"/>
                  <a:pt x="11811000" y="881686"/>
                </a:cubicBezTo>
                <a:cubicBezTo>
                  <a:pt x="11799562" y="1136200"/>
                  <a:pt x="11835797" y="1259062"/>
                  <a:pt x="11811000" y="1606808"/>
                </a:cubicBezTo>
                <a:cubicBezTo>
                  <a:pt x="11786203" y="1954554"/>
                  <a:pt x="11826705" y="1905102"/>
                  <a:pt x="11811000" y="2092440"/>
                </a:cubicBezTo>
                <a:cubicBezTo>
                  <a:pt x="11795295" y="2279778"/>
                  <a:pt x="11819552" y="2521674"/>
                  <a:pt x="11811000" y="2637945"/>
                </a:cubicBezTo>
                <a:cubicBezTo>
                  <a:pt x="11802448" y="2754217"/>
                  <a:pt x="11808331" y="3036282"/>
                  <a:pt x="11811000" y="3183450"/>
                </a:cubicBezTo>
                <a:cubicBezTo>
                  <a:pt x="11813669" y="3330618"/>
                  <a:pt x="11778432" y="3640433"/>
                  <a:pt x="11811000" y="3908572"/>
                </a:cubicBezTo>
                <a:cubicBezTo>
                  <a:pt x="11843568" y="4176711"/>
                  <a:pt x="11823783" y="4494357"/>
                  <a:pt x="11811000" y="4693566"/>
                </a:cubicBezTo>
                <a:cubicBezTo>
                  <a:pt x="11798217" y="4892775"/>
                  <a:pt x="11823835" y="4947328"/>
                  <a:pt x="11811000" y="5179198"/>
                </a:cubicBezTo>
                <a:cubicBezTo>
                  <a:pt x="11798165" y="5411068"/>
                  <a:pt x="11813056" y="6014585"/>
                  <a:pt x="11811000" y="6263555"/>
                </a:cubicBezTo>
                <a:cubicBezTo>
                  <a:pt x="11786682" y="6409302"/>
                  <a:pt x="11669488" y="6539305"/>
                  <a:pt x="11534691" y="6539864"/>
                </a:cubicBezTo>
                <a:cubicBezTo>
                  <a:pt x="11241971" y="6564579"/>
                  <a:pt x="11001665" y="6543078"/>
                  <a:pt x="10759849" y="6539864"/>
                </a:cubicBezTo>
                <a:cubicBezTo>
                  <a:pt x="10518033" y="6536650"/>
                  <a:pt x="10559413" y="6543082"/>
                  <a:pt x="10435343" y="6539864"/>
                </a:cubicBezTo>
                <a:cubicBezTo>
                  <a:pt x="10311273" y="6536646"/>
                  <a:pt x="9934938" y="6519704"/>
                  <a:pt x="9773085" y="6539864"/>
                </a:cubicBezTo>
                <a:cubicBezTo>
                  <a:pt x="9611232" y="6560024"/>
                  <a:pt x="9192404" y="6500085"/>
                  <a:pt x="8885660" y="6539864"/>
                </a:cubicBezTo>
                <a:cubicBezTo>
                  <a:pt x="8578917" y="6579643"/>
                  <a:pt x="8394840" y="6512723"/>
                  <a:pt x="7998235" y="6539864"/>
                </a:cubicBezTo>
                <a:cubicBezTo>
                  <a:pt x="7601631" y="6567005"/>
                  <a:pt x="7508469" y="6516653"/>
                  <a:pt x="7110809" y="6539864"/>
                </a:cubicBezTo>
                <a:cubicBezTo>
                  <a:pt x="6713149" y="6563075"/>
                  <a:pt x="6641706" y="6525084"/>
                  <a:pt x="6223384" y="6539864"/>
                </a:cubicBezTo>
                <a:cubicBezTo>
                  <a:pt x="5805062" y="6554644"/>
                  <a:pt x="5941608" y="6557619"/>
                  <a:pt x="5786294" y="6539864"/>
                </a:cubicBezTo>
                <a:cubicBezTo>
                  <a:pt x="5630980" y="6522110"/>
                  <a:pt x="5448053" y="6519195"/>
                  <a:pt x="5124036" y="6539864"/>
                </a:cubicBezTo>
                <a:cubicBezTo>
                  <a:pt x="4800019" y="6560533"/>
                  <a:pt x="4946688" y="6554373"/>
                  <a:pt x="4799530" y="6539864"/>
                </a:cubicBezTo>
                <a:cubicBezTo>
                  <a:pt x="4652372" y="6525355"/>
                  <a:pt x="4467671" y="6562976"/>
                  <a:pt x="4137272" y="6539864"/>
                </a:cubicBezTo>
                <a:cubicBezTo>
                  <a:pt x="3806873" y="6516752"/>
                  <a:pt x="3931886" y="6542919"/>
                  <a:pt x="3812765" y="6539864"/>
                </a:cubicBezTo>
                <a:cubicBezTo>
                  <a:pt x="3693644" y="6536809"/>
                  <a:pt x="3472379" y="6533770"/>
                  <a:pt x="3375675" y="6539864"/>
                </a:cubicBezTo>
                <a:cubicBezTo>
                  <a:pt x="3278971" y="6545959"/>
                  <a:pt x="2974375" y="6567147"/>
                  <a:pt x="2826001" y="6539864"/>
                </a:cubicBezTo>
                <a:cubicBezTo>
                  <a:pt x="2677627" y="6512581"/>
                  <a:pt x="2494363" y="6571312"/>
                  <a:pt x="2163744" y="6539864"/>
                </a:cubicBezTo>
                <a:cubicBezTo>
                  <a:pt x="1833125" y="6508416"/>
                  <a:pt x="1977346" y="6554881"/>
                  <a:pt x="1839237" y="6539864"/>
                </a:cubicBezTo>
                <a:cubicBezTo>
                  <a:pt x="1701128" y="6524847"/>
                  <a:pt x="1150916" y="6583885"/>
                  <a:pt x="951812" y="6539864"/>
                </a:cubicBezTo>
                <a:cubicBezTo>
                  <a:pt x="752708" y="6495843"/>
                  <a:pt x="593978" y="6526984"/>
                  <a:pt x="276309" y="6539864"/>
                </a:cubicBezTo>
                <a:cubicBezTo>
                  <a:pt x="135821" y="6523812"/>
                  <a:pt x="4350" y="6397773"/>
                  <a:pt x="0" y="6263555"/>
                </a:cubicBezTo>
                <a:cubicBezTo>
                  <a:pt x="-22309" y="6002412"/>
                  <a:pt x="2125" y="5785703"/>
                  <a:pt x="0" y="5658178"/>
                </a:cubicBezTo>
                <a:cubicBezTo>
                  <a:pt x="-2125" y="5530653"/>
                  <a:pt x="36191" y="5289459"/>
                  <a:pt x="0" y="4933056"/>
                </a:cubicBezTo>
                <a:cubicBezTo>
                  <a:pt x="-36191" y="4576653"/>
                  <a:pt x="-10199" y="4459738"/>
                  <a:pt x="0" y="4267806"/>
                </a:cubicBezTo>
                <a:cubicBezTo>
                  <a:pt x="10199" y="4075874"/>
                  <a:pt x="4354" y="3802315"/>
                  <a:pt x="0" y="3662429"/>
                </a:cubicBezTo>
                <a:cubicBezTo>
                  <a:pt x="-4354" y="3522543"/>
                  <a:pt x="-9180" y="3356004"/>
                  <a:pt x="0" y="3176797"/>
                </a:cubicBezTo>
                <a:cubicBezTo>
                  <a:pt x="9180" y="2997590"/>
                  <a:pt x="13449" y="2662145"/>
                  <a:pt x="0" y="2391803"/>
                </a:cubicBezTo>
                <a:cubicBezTo>
                  <a:pt x="-13449" y="2121461"/>
                  <a:pt x="21648" y="2032854"/>
                  <a:pt x="0" y="1906170"/>
                </a:cubicBezTo>
                <a:cubicBezTo>
                  <a:pt x="-21648" y="1779486"/>
                  <a:pt x="15691" y="1378683"/>
                  <a:pt x="0" y="1121176"/>
                </a:cubicBezTo>
                <a:cubicBezTo>
                  <a:pt x="-15691" y="863669"/>
                  <a:pt x="19462" y="681739"/>
                  <a:pt x="0" y="276309"/>
                </a:cubicBezTo>
                <a:close/>
              </a:path>
            </a:pathLst>
          </a:custGeom>
          <a:solidFill>
            <a:schemeClr val="bg1">
              <a:alpha val="98000"/>
            </a:schemeClr>
          </a:solidFill>
          <a:ln w="19050">
            <a:solidFill>
              <a:schemeClr val="accent2">
                <a:lumMod val="75000"/>
              </a:schemeClr>
            </a:solidFill>
            <a:prstDash val="lgDash"/>
            <a:extLst>
              <a:ext uri="{C807C97D-BFC1-408E-A445-0C87EB9F89A2}">
                <ask:lineSketchStyleProps xmlns:ask="http://schemas.microsoft.com/office/drawing/2018/sketchyshapes" xmlns="" sd="1860289983">
                  <a:prstGeom prst="roundRect">
                    <a:avLst>
                      <a:gd name="adj" fmla="val 422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#9Slide02 Noi dung da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03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92C063-6317-449C-A341-883F2682D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53C2C5-1069-41AD-AB8E-A272B5F74D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35F9C6-7A1E-4BB1-8382-AF2048FA93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2CF1DA-3491-456F-B971-C43EFCD2163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9B9EE9-F3BF-4B40-83E7-C9BC68FDDB0E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D613E6-C32A-4783-9219-260167E50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F57CA7-22C9-4637-98D5-45CB81C4C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F55963-6440-4C45-BA09-4E6A99D1BB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83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5C8BC-CF44-4FCD-ACB9-6C06E1FD0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E26985-A785-4717-80AD-9B8D8F5B85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05A630-F12E-492E-A3AD-AE8A23606B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9B9EE9-F3BF-4B40-83E7-C9BC68FDDB0E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5C2166-B6AA-4084-B4D7-069DDC982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20EA2-78ED-4391-B2FB-25000FDBC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F55963-6440-4C45-BA09-4E6A99D1BB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59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 header 1"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4"/>
          <p:cNvSpPr txBox="1">
            <a:spLocks noGrp="1"/>
          </p:cNvSpPr>
          <p:nvPr>
            <p:ph type="title"/>
          </p:nvPr>
        </p:nvSpPr>
        <p:spPr>
          <a:xfrm>
            <a:off x="6314200" y="3376867"/>
            <a:ext cx="3450000" cy="83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519" name="Google Shape;519;p14"/>
          <p:cNvSpPr txBox="1">
            <a:spLocks noGrp="1"/>
          </p:cNvSpPr>
          <p:nvPr>
            <p:ph type="subTitle" idx="1"/>
          </p:nvPr>
        </p:nvSpPr>
        <p:spPr>
          <a:xfrm>
            <a:off x="6730367" y="4265600"/>
            <a:ext cx="3034000" cy="6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520" name="Google Shape;520;p14"/>
          <p:cNvSpPr txBox="1">
            <a:spLocks noGrp="1"/>
          </p:cNvSpPr>
          <p:nvPr>
            <p:ph type="title" idx="2" hasCustomPrompt="1"/>
          </p:nvPr>
        </p:nvSpPr>
        <p:spPr>
          <a:xfrm>
            <a:off x="6925400" y="1357651"/>
            <a:ext cx="2838800" cy="183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3333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521" name="Google Shape;521;p14"/>
          <p:cNvSpPr/>
          <p:nvPr/>
        </p:nvSpPr>
        <p:spPr>
          <a:xfrm>
            <a:off x="290020" y="7156380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2" name="Google Shape;522;p14"/>
          <p:cNvSpPr/>
          <p:nvPr/>
        </p:nvSpPr>
        <p:spPr>
          <a:xfrm>
            <a:off x="25086" y="7269186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3" name="Google Shape;523;p14"/>
          <p:cNvSpPr/>
          <p:nvPr/>
        </p:nvSpPr>
        <p:spPr>
          <a:xfrm>
            <a:off x="154185" y="7198839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4" name="Google Shape;524;p14"/>
          <p:cNvSpPr/>
          <p:nvPr/>
        </p:nvSpPr>
        <p:spPr>
          <a:xfrm>
            <a:off x="5000325" y="7159671"/>
            <a:ext cx="652857" cy="303320"/>
          </a:xfrm>
          <a:custGeom>
            <a:avLst/>
            <a:gdLst/>
            <a:ahLst/>
            <a:cxnLst/>
            <a:rect l="l" t="t" r="r" b="b"/>
            <a:pathLst>
              <a:path w="4167" h="1936" extrusionOk="0">
                <a:moveTo>
                  <a:pt x="1866" y="0"/>
                </a:moveTo>
                <a:cubicBezTo>
                  <a:pt x="1359" y="0"/>
                  <a:pt x="855" y="102"/>
                  <a:pt x="381" y="314"/>
                </a:cubicBezTo>
                <a:cubicBezTo>
                  <a:pt x="297" y="335"/>
                  <a:pt x="233" y="378"/>
                  <a:pt x="170" y="441"/>
                </a:cubicBezTo>
                <a:cubicBezTo>
                  <a:pt x="1" y="631"/>
                  <a:pt x="149" y="949"/>
                  <a:pt x="339" y="1118"/>
                </a:cubicBezTo>
                <a:cubicBezTo>
                  <a:pt x="868" y="1628"/>
                  <a:pt x="1935" y="1935"/>
                  <a:pt x="2730" y="1935"/>
                </a:cubicBezTo>
                <a:cubicBezTo>
                  <a:pt x="2826" y="1935"/>
                  <a:pt x="2918" y="1931"/>
                  <a:pt x="3004" y="1922"/>
                </a:cubicBezTo>
                <a:cubicBezTo>
                  <a:pt x="4167" y="1773"/>
                  <a:pt x="3892" y="420"/>
                  <a:pt x="2919" y="145"/>
                </a:cubicBezTo>
                <a:cubicBezTo>
                  <a:pt x="2572" y="50"/>
                  <a:pt x="2218" y="0"/>
                  <a:pt x="1866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5" name="Google Shape;525;p14"/>
          <p:cNvSpPr/>
          <p:nvPr/>
        </p:nvSpPr>
        <p:spPr>
          <a:xfrm>
            <a:off x="5603361" y="6972446"/>
            <a:ext cx="473937" cy="231093"/>
          </a:xfrm>
          <a:custGeom>
            <a:avLst/>
            <a:gdLst/>
            <a:ahLst/>
            <a:cxnLst/>
            <a:rect l="l" t="t" r="r" b="b"/>
            <a:pathLst>
              <a:path w="3025" h="1475" extrusionOk="0">
                <a:moveTo>
                  <a:pt x="1287" y="0"/>
                </a:moveTo>
                <a:cubicBezTo>
                  <a:pt x="1225" y="0"/>
                  <a:pt x="1163" y="3"/>
                  <a:pt x="1101" y="8"/>
                </a:cubicBezTo>
                <a:cubicBezTo>
                  <a:pt x="762" y="8"/>
                  <a:pt x="445" y="134"/>
                  <a:pt x="191" y="367"/>
                </a:cubicBezTo>
                <a:cubicBezTo>
                  <a:pt x="64" y="494"/>
                  <a:pt x="1" y="705"/>
                  <a:pt x="43" y="896"/>
                </a:cubicBezTo>
                <a:cubicBezTo>
                  <a:pt x="188" y="1286"/>
                  <a:pt x="794" y="1474"/>
                  <a:pt x="1402" y="1474"/>
                </a:cubicBezTo>
                <a:cubicBezTo>
                  <a:pt x="2211" y="1474"/>
                  <a:pt x="3025" y="1143"/>
                  <a:pt x="2771" y="515"/>
                </a:cubicBezTo>
                <a:cubicBezTo>
                  <a:pt x="2750" y="452"/>
                  <a:pt x="2708" y="431"/>
                  <a:pt x="2666" y="388"/>
                </a:cubicBezTo>
                <a:cubicBezTo>
                  <a:pt x="2253" y="144"/>
                  <a:pt x="1774" y="0"/>
                  <a:pt x="1287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6" name="Google Shape;526;p14"/>
          <p:cNvSpPr/>
          <p:nvPr/>
        </p:nvSpPr>
        <p:spPr>
          <a:xfrm>
            <a:off x="308272" y="7156380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7" name="Google Shape;527;p14"/>
          <p:cNvSpPr/>
          <p:nvPr/>
        </p:nvSpPr>
        <p:spPr>
          <a:xfrm>
            <a:off x="914755" y="7347523"/>
            <a:ext cx="760963" cy="323531"/>
          </a:xfrm>
          <a:custGeom>
            <a:avLst/>
            <a:gdLst/>
            <a:ahLst/>
            <a:cxnLst/>
            <a:rect l="l" t="t" r="r" b="b"/>
            <a:pathLst>
              <a:path w="4857" h="2065" extrusionOk="0">
                <a:moveTo>
                  <a:pt x="2199" y="1"/>
                </a:moveTo>
                <a:cubicBezTo>
                  <a:pt x="1526" y="1"/>
                  <a:pt x="856" y="228"/>
                  <a:pt x="318" y="680"/>
                </a:cubicBezTo>
                <a:cubicBezTo>
                  <a:pt x="127" y="807"/>
                  <a:pt x="21" y="997"/>
                  <a:pt x="0" y="1209"/>
                </a:cubicBezTo>
                <a:cubicBezTo>
                  <a:pt x="21" y="1420"/>
                  <a:pt x="148" y="1611"/>
                  <a:pt x="339" y="1695"/>
                </a:cubicBezTo>
                <a:cubicBezTo>
                  <a:pt x="805" y="1995"/>
                  <a:pt x="1340" y="2050"/>
                  <a:pt x="1885" y="2050"/>
                </a:cubicBezTo>
                <a:cubicBezTo>
                  <a:pt x="2202" y="2050"/>
                  <a:pt x="2523" y="2031"/>
                  <a:pt x="2835" y="2031"/>
                </a:cubicBezTo>
                <a:cubicBezTo>
                  <a:pt x="3007" y="2031"/>
                  <a:pt x="3177" y="2037"/>
                  <a:pt x="3342" y="2055"/>
                </a:cubicBezTo>
                <a:cubicBezTo>
                  <a:pt x="3395" y="2061"/>
                  <a:pt x="3448" y="2064"/>
                  <a:pt x="3499" y="2064"/>
                </a:cubicBezTo>
                <a:cubicBezTo>
                  <a:pt x="4323" y="2064"/>
                  <a:pt x="4856" y="1295"/>
                  <a:pt x="4040" y="638"/>
                </a:cubicBezTo>
                <a:cubicBezTo>
                  <a:pt x="3500" y="212"/>
                  <a:pt x="2848" y="1"/>
                  <a:pt x="2199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8" name="Google Shape;528;p14"/>
          <p:cNvSpPr/>
          <p:nvPr/>
        </p:nvSpPr>
        <p:spPr>
          <a:xfrm>
            <a:off x="43338" y="7269186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9" name="Google Shape;529;p14"/>
          <p:cNvSpPr/>
          <p:nvPr/>
        </p:nvSpPr>
        <p:spPr>
          <a:xfrm>
            <a:off x="172437" y="7198839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0" name="Google Shape;530;p14"/>
          <p:cNvSpPr/>
          <p:nvPr/>
        </p:nvSpPr>
        <p:spPr>
          <a:xfrm>
            <a:off x="2112992" y="7539447"/>
            <a:ext cx="97451" cy="153227"/>
          </a:xfrm>
          <a:custGeom>
            <a:avLst/>
            <a:gdLst/>
            <a:ahLst/>
            <a:cxnLst/>
            <a:rect l="l" t="t" r="r" b="b"/>
            <a:pathLst>
              <a:path w="622" h="978" extrusionOk="0">
                <a:moveTo>
                  <a:pt x="170" y="0"/>
                </a:moveTo>
                <a:cubicBezTo>
                  <a:pt x="82" y="0"/>
                  <a:pt x="0" y="72"/>
                  <a:pt x="30" y="174"/>
                </a:cubicBezTo>
                <a:lnTo>
                  <a:pt x="326" y="893"/>
                </a:lnTo>
                <a:cubicBezTo>
                  <a:pt x="368" y="957"/>
                  <a:pt x="410" y="978"/>
                  <a:pt x="474" y="978"/>
                </a:cubicBezTo>
                <a:lnTo>
                  <a:pt x="516" y="978"/>
                </a:lnTo>
                <a:cubicBezTo>
                  <a:pt x="601" y="936"/>
                  <a:pt x="622" y="851"/>
                  <a:pt x="601" y="788"/>
                </a:cubicBezTo>
                <a:lnTo>
                  <a:pt x="283" y="47"/>
                </a:lnTo>
                <a:cubicBezTo>
                  <a:pt x="251" y="15"/>
                  <a:pt x="210" y="0"/>
                  <a:pt x="17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1" name="Google Shape;531;p14"/>
          <p:cNvSpPr/>
          <p:nvPr/>
        </p:nvSpPr>
        <p:spPr>
          <a:xfrm>
            <a:off x="2236765" y="7463931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64" y="64"/>
                  <a:pt x="64" y="149"/>
                </a:cubicBezTo>
                <a:lnTo>
                  <a:pt x="22" y="1143"/>
                </a:lnTo>
                <a:cubicBezTo>
                  <a:pt x="1" y="1227"/>
                  <a:pt x="64" y="1312"/>
                  <a:pt x="149" y="1312"/>
                </a:cubicBezTo>
                <a:cubicBezTo>
                  <a:pt x="234" y="1312"/>
                  <a:pt x="318" y="1248"/>
                  <a:pt x="318" y="1164"/>
                </a:cubicBezTo>
                <a:lnTo>
                  <a:pt x="360" y="170"/>
                </a:lnTo>
                <a:cubicBezTo>
                  <a:pt x="360" y="85"/>
                  <a:pt x="297" y="1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2" name="Google Shape;532;p14"/>
          <p:cNvSpPr/>
          <p:nvPr/>
        </p:nvSpPr>
        <p:spPr>
          <a:xfrm>
            <a:off x="11309458" y="5519067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3" name="Google Shape;533;p14"/>
          <p:cNvSpPr/>
          <p:nvPr/>
        </p:nvSpPr>
        <p:spPr>
          <a:xfrm>
            <a:off x="11635049" y="5533853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4" name="Google Shape;534;p14"/>
          <p:cNvSpPr/>
          <p:nvPr/>
        </p:nvSpPr>
        <p:spPr>
          <a:xfrm>
            <a:off x="9631111" y="6951783"/>
            <a:ext cx="1997607" cy="399069"/>
          </a:xfrm>
          <a:custGeom>
            <a:avLst/>
            <a:gdLst/>
            <a:ahLst/>
            <a:cxnLst/>
            <a:rect l="l" t="t" r="r" b="b"/>
            <a:pathLst>
              <a:path w="13240" h="2645" extrusionOk="0">
                <a:moveTo>
                  <a:pt x="6620" y="1"/>
                </a:moveTo>
                <a:cubicBezTo>
                  <a:pt x="2961" y="1"/>
                  <a:pt x="0" y="593"/>
                  <a:pt x="0" y="1333"/>
                </a:cubicBezTo>
                <a:cubicBezTo>
                  <a:pt x="0" y="2052"/>
                  <a:pt x="2961" y="2644"/>
                  <a:pt x="6620" y="2644"/>
                </a:cubicBezTo>
                <a:cubicBezTo>
                  <a:pt x="10279" y="2644"/>
                  <a:pt x="13240" y="2052"/>
                  <a:pt x="13240" y="1333"/>
                </a:cubicBezTo>
                <a:cubicBezTo>
                  <a:pt x="13240" y="593"/>
                  <a:pt x="10279" y="1"/>
                  <a:pt x="6620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5" name="Google Shape;535;p14"/>
          <p:cNvSpPr/>
          <p:nvPr/>
        </p:nvSpPr>
        <p:spPr>
          <a:xfrm>
            <a:off x="11327035" y="5519067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6" name="Google Shape;536;p14"/>
          <p:cNvSpPr/>
          <p:nvPr/>
        </p:nvSpPr>
        <p:spPr>
          <a:xfrm>
            <a:off x="11652626" y="5533853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37" name="Google Shape;537;p14"/>
          <p:cNvGrpSpPr/>
          <p:nvPr/>
        </p:nvGrpSpPr>
        <p:grpSpPr>
          <a:xfrm>
            <a:off x="-203657" y="5590281"/>
            <a:ext cx="12469016" cy="2535935"/>
            <a:chOff x="-152743" y="4192710"/>
            <a:chExt cx="9351762" cy="1901951"/>
          </a:xfrm>
        </p:grpSpPr>
        <p:sp>
          <p:nvSpPr>
            <p:cNvPr id="538" name="Google Shape;538;p14"/>
            <p:cNvSpPr/>
            <p:nvPr/>
          </p:nvSpPr>
          <p:spPr>
            <a:xfrm>
              <a:off x="-152743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rgbClr val="89B98A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9" name="Google Shape;539;p14"/>
            <p:cNvSpPr/>
            <p:nvPr/>
          </p:nvSpPr>
          <p:spPr>
            <a:xfrm>
              <a:off x="-70725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0" name="Google Shape;540;p14"/>
            <p:cNvSpPr/>
            <p:nvPr/>
          </p:nvSpPr>
          <p:spPr>
            <a:xfrm>
              <a:off x="128093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1" name="Google Shape;541;p14"/>
            <p:cNvSpPr/>
            <p:nvPr/>
          </p:nvSpPr>
          <p:spPr>
            <a:xfrm>
              <a:off x="225035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2" name="Google Shape;542;p14"/>
            <p:cNvSpPr/>
            <p:nvPr/>
          </p:nvSpPr>
          <p:spPr>
            <a:xfrm>
              <a:off x="-139054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3" name="Google Shape;543;p14"/>
            <p:cNvSpPr/>
            <p:nvPr/>
          </p:nvSpPr>
          <p:spPr>
            <a:xfrm>
              <a:off x="5527153" y="4805258"/>
              <a:ext cx="124320" cy="131723"/>
            </a:xfrm>
            <a:custGeom>
              <a:avLst/>
              <a:gdLst/>
              <a:ahLst/>
              <a:cxnLst/>
              <a:rect l="l" t="t" r="r" b="b"/>
              <a:pathLst>
                <a:path w="1058" h="1121" extrusionOk="0">
                  <a:moveTo>
                    <a:pt x="762" y="0"/>
                  </a:moveTo>
                  <a:cubicBezTo>
                    <a:pt x="677" y="42"/>
                    <a:pt x="614" y="85"/>
                    <a:pt x="571" y="169"/>
                  </a:cubicBezTo>
                  <a:cubicBezTo>
                    <a:pt x="466" y="317"/>
                    <a:pt x="402" y="465"/>
                    <a:pt x="339" y="635"/>
                  </a:cubicBezTo>
                  <a:lnTo>
                    <a:pt x="254" y="127"/>
                  </a:lnTo>
                  <a:cubicBezTo>
                    <a:pt x="254" y="106"/>
                    <a:pt x="233" y="63"/>
                    <a:pt x="212" y="42"/>
                  </a:cubicBezTo>
                  <a:cubicBezTo>
                    <a:pt x="194" y="34"/>
                    <a:pt x="177" y="28"/>
                    <a:pt x="159" y="28"/>
                  </a:cubicBezTo>
                  <a:cubicBezTo>
                    <a:pt x="135" y="28"/>
                    <a:pt x="110" y="39"/>
                    <a:pt x="85" y="63"/>
                  </a:cubicBezTo>
                  <a:cubicBezTo>
                    <a:pt x="64" y="106"/>
                    <a:pt x="43" y="148"/>
                    <a:pt x="43" y="190"/>
                  </a:cubicBezTo>
                  <a:cubicBezTo>
                    <a:pt x="0" y="381"/>
                    <a:pt x="0" y="571"/>
                    <a:pt x="22" y="740"/>
                  </a:cubicBezTo>
                  <a:cubicBezTo>
                    <a:pt x="43" y="804"/>
                    <a:pt x="64" y="867"/>
                    <a:pt x="106" y="888"/>
                  </a:cubicBezTo>
                  <a:lnTo>
                    <a:pt x="656" y="1121"/>
                  </a:lnTo>
                  <a:cubicBezTo>
                    <a:pt x="825" y="952"/>
                    <a:pt x="952" y="740"/>
                    <a:pt x="1016" y="508"/>
                  </a:cubicBezTo>
                  <a:cubicBezTo>
                    <a:pt x="1058" y="402"/>
                    <a:pt x="1058" y="296"/>
                    <a:pt x="1037" y="190"/>
                  </a:cubicBezTo>
                  <a:cubicBezTo>
                    <a:pt x="994" y="63"/>
                    <a:pt x="889" y="0"/>
                    <a:pt x="76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4" name="Google Shape;544;p14"/>
            <p:cNvSpPr/>
            <p:nvPr/>
          </p:nvSpPr>
          <p:spPr>
            <a:xfrm>
              <a:off x="3670692" y="4415142"/>
              <a:ext cx="121970" cy="131723"/>
            </a:xfrm>
            <a:custGeom>
              <a:avLst/>
              <a:gdLst/>
              <a:ahLst/>
              <a:cxnLst/>
              <a:rect l="l" t="t" r="r" b="b"/>
              <a:pathLst>
                <a:path w="1038" h="1121" extrusionOk="0">
                  <a:moveTo>
                    <a:pt x="770" y="0"/>
                  </a:moveTo>
                  <a:cubicBezTo>
                    <a:pt x="735" y="0"/>
                    <a:pt x="697" y="7"/>
                    <a:pt x="656" y="21"/>
                  </a:cubicBezTo>
                  <a:cubicBezTo>
                    <a:pt x="593" y="63"/>
                    <a:pt x="530" y="148"/>
                    <a:pt x="508" y="232"/>
                  </a:cubicBezTo>
                  <a:cubicBezTo>
                    <a:pt x="466" y="401"/>
                    <a:pt x="445" y="571"/>
                    <a:pt x="424" y="740"/>
                  </a:cubicBezTo>
                  <a:cubicBezTo>
                    <a:pt x="360" y="592"/>
                    <a:pt x="276" y="444"/>
                    <a:pt x="212" y="296"/>
                  </a:cubicBezTo>
                  <a:cubicBezTo>
                    <a:pt x="191" y="253"/>
                    <a:pt x="170" y="232"/>
                    <a:pt x="149" y="211"/>
                  </a:cubicBezTo>
                  <a:cubicBezTo>
                    <a:pt x="138" y="205"/>
                    <a:pt x="126" y="203"/>
                    <a:pt x="115" y="203"/>
                  </a:cubicBezTo>
                  <a:cubicBezTo>
                    <a:pt x="85" y="203"/>
                    <a:pt x="59" y="222"/>
                    <a:pt x="43" y="253"/>
                  </a:cubicBezTo>
                  <a:cubicBezTo>
                    <a:pt x="22" y="296"/>
                    <a:pt x="1" y="359"/>
                    <a:pt x="22" y="401"/>
                  </a:cubicBezTo>
                  <a:cubicBezTo>
                    <a:pt x="22" y="592"/>
                    <a:pt x="85" y="761"/>
                    <a:pt x="170" y="930"/>
                  </a:cubicBezTo>
                  <a:cubicBezTo>
                    <a:pt x="191" y="994"/>
                    <a:pt x="212" y="1057"/>
                    <a:pt x="276" y="1057"/>
                  </a:cubicBezTo>
                  <a:lnTo>
                    <a:pt x="847" y="1121"/>
                  </a:lnTo>
                  <a:cubicBezTo>
                    <a:pt x="953" y="909"/>
                    <a:pt x="1016" y="676"/>
                    <a:pt x="1037" y="444"/>
                  </a:cubicBezTo>
                  <a:cubicBezTo>
                    <a:pt x="1037" y="317"/>
                    <a:pt x="1016" y="211"/>
                    <a:pt x="953" y="105"/>
                  </a:cubicBezTo>
                  <a:cubicBezTo>
                    <a:pt x="909" y="33"/>
                    <a:pt x="846" y="0"/>
                    <a:pt x="77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5" name="Google Shape;545;p14"/>
            <p:cNvSpPr/>
            <p:nvPr/>
          </p:nvSpPr>
          <p:spPr>
            <a:xfrm>
              <a:off x="3404778" y="4397633"/>
              <a:ext cx="82136" cy="104462"/>
            </a:xfrm>
            <a:custGeom>
              <a:avLst/>
              <a:gdLst/>
              <a:ahLst/>
              <a:cxnLst/>
              <a:rect l="l" t="t" r="r" b="b"/>
              <a:pathLst>
                <a:path w="699" h="889" extrusionOk="0">
                  <a:moveTo>
                    <a:pt x="107" y="1"/>
                  </a:moveTo>
                  <a:cubicBezTo>
                    <a:pt x="64" y="1"/>
                    <a:pt x="43" y="1"/>
                    <a:pt x="22" y="43"/>
                  </a:cubicBezTo>
                  <a:cubicBezTo>
                    <a:pt x="22" y="64"/>
                    <a:pt x="1" y="106"/>
                    <a:pt x="22" y="127"/>
                  </a:cubicBezTo>
                  <a:cubicBezTo>
                    <a:pt x="1" y="360"/>
                    <a:pt x="64" y="572"/>
                    <a:pt x="191" y="741"/>
                  </a:cubicBezTo>
                  <a:lnTo>
                    <a:pt x="508" y="889"/>
                  </a:lnTo>
                  <a:lnTo>
                    <a:pt x="593" y="656"/>
                  </a:lnTo>
                  <a:cubicBezTo>
                    <a:pt x="635" y="572"/>
                    <a:pt x="656" y="466"/>
                    <a:pt x="678" y="360"/>
                  </a:cubicBezTo>
                  <a:cubicBezTo>
                    <a:pt x="699" y="254"/>
                    <a:pt x="678" y="170"/>
                    <a:pt x="635" y="64"/>
                  </a:cubicBezTo>
                  <a:cubicBezTo>
                    <a:pt x="614" y="64"/>
                    <a:pt x="614" y="43"/>
                    <a:pt x="593" y="43"/>
                  </a:cubicBezTo>
                  <a:cubicBezTo>
                    <a:pt x="582" y="37"/>
                    <a:pt x="570" y="35"/>
                    <a:pt x="559" y="35"/>
                  </a:cubicBezTo>
                  <a:cubicBezTo>
                    <a:pt x="528" y="35"/>
                    <a:pt x="497" y="54"/>
                    <a:pt x="466" y="85"/>
                  </a:cubicBezTo>
                  <a:cubicBezTo>
                    <a:pt x="381" y="170"/>
                    <a:pt x="339" y="275"/>
                    <a:pt x="318" y="402"/>
                  </a:cubicBezTo>
                  <a:cubicBezTo>
                    <a:pt x="276" y="297"/>
                    <a:pt x="233" y="191"/>
                    <a:pt x="191" y="85"/>
                  </a:cubicBezTo>
                  <a:cubicBezTo>
                    <a:pt x="170" y="43"/>
                    <a:pt x="149" y="1"/>
                    <a:pt x="10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6" name="Google Shape;546;p14"/>
            <p:cNvSpPr/>
            <p:nvPr/>
          </p:nvSpPr>
          <p:spPr>
            <a:xfrm>
              <a:off x="-57036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7" name="Google Shape;547;p14"/>
            <p:cNvSpPr/>
            <p:nvPr/>
          </p:nvSpPr>
          <p:spPr>
            <a:xfrm>
              <a:off x="141783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8" name="Google Shape;548;p14"/>
            <p:cNvSpPr/>
            <p:nvPr/>
          </p:nvSpPr>
          <p:spPr>
            <a:xfrm>
              <a:off x="238724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9" name="Google Shape;549;p14"/>
            <p:cNvSpPr/>
            <p:nvPr/>
          </p:nvSpPr>
          <p:spPr>
            <a:xfrm>
              <a:off x="3740255" y="4736166"/>
              <a:ext cx="77201" cy="121383"/>
            </a:xfrm>
            <a:custGeom>
              <a:avLst/>
              <a:gdLst/>
              <a:ahLst/>
              <a:cxnLst/>
              <a:rect l="l" t="t" r="r" b="b"/>
              <a:pathLst>
                <a:path w="657" h="1033" extrusionOk="0">
                  <a:moveTo>
                    <a:pt x="484" y="0"/>
                  </a:moveTo>
                  <a:cubicBezTo>
                    <a:pt x="425" y="0"/>
                    <a:pt x="376" y="40"/>
                    <a:pt x="361" y="102"/>
                  </a:cubicBezTo>
                  <a:lnTo>
                    <a:pt x="43" y="821"/>
                  </a:lnTo>
                  <a:cubicBezTo>
                    <a:pt x="1" y="884"/>
                    <a:pt x="43" y="990"/>
                    <a:pt x="128" y="1011"/>
                  </a:cubicBezTo>
                  <a:cubicBezTo>
                    <a:pt x="128" y="1032"/>
                    <a:pt x="149" y="1032"/>
                    <a:pt x="170" y="1032"/>
                  </a:cubicBezTo>
                  <a:cubicBezTo>
                    <a:pt x="234" y="1032"/>
                    <a:pt x="297" y="990"/>
                    <a:pt x="318" y="926"/>
                  </a:cubicBezTo>
                  <a:lnTo>
                    <a:pt x="635" y="207"/>
                  </a:lnTo>
                  <a:cubicBezTo>
                    <a:pt x="657" y="144"/>
                    <a:pt x="635" y="59"/>
                    <a:pt x="551" y="17"/>
                  </a:cubicBezTo>
                  <a:cubicBezTo>
                    <a:pt x="528" y="6"/>
                    <a:pt x="506" y="0"/>
                    <a:pt x="48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0" name="Google Shape;550;p14"/>
            <p:cNvSpPr/>
            <p:nvPr/>
          </p:nvSpPr>
          <p:spPr>
            <a:xfrm>
              <a:off x="3680680" y="4686226"/>
              <a:ext cx="42302" cy="151346"/>
            </a:xfrm>
            <a:custGeom>
              <a:avLst/>
              <a:gdLst/>
              <a:ahLst/>
              <a:cxnLst/>
              <a:rect l="l" t="t" r="r" b="b"/>
              <a:pathLst>
                <a:path w="360" h="1288" extrusionOk="0">
                  <a:moveTo>
                    <a:pt x="155" y="0"/>
                  </a:moveTo>
                  <a:cubicBezTo>
                    <a:pt x="84" y="0"/>
                    <a:pt x="11" y="48"/>
                    <a:pt x="0" y="146"/>
                  </a:cubicBezTo>
                  <a:lnTo>
                    <a:pt x="64" y="1140"/>
                  </a:lnTo>
                  <a:cubicBezTo>
                    <a:pt x="64" y="1225"/>
                    <a:pt x="127" y="1288"/>
                    <a:pt x="212" y="1288"/>
                  </a:cubicBezTo>
                  <a:cubicBezTo>
                    <a:pt x="296" y="1288"/>
                    <a:pt x="360" y="1225"/>
                    <a:pt x="360" y="1140"/>
                  </a:cubicBezTo>
                  <a:lnTo>
                    <a:pt x="296" y="125"/>
                  </a:lnTo>
                  <a:cubicBezTo>
                    <a:pt x="286" y="43"/>
                    <a:pt x="221" y="0"/>
                    <a:pt x="15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1" name="Google Shape;551;p14"/>
            <p:cNvSpPr/>
            <p:nvPr/>
          </p:nvSpPr>
          <p:spPr>
            <a:xfrm>
              <a:off x="2934676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rgbClr val="79AD78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2" name="Google Shape;552;p14"/>
            <p:cNvSpPr/>
            <p:nvPr/>
          </p:nvSpPr>
          <p:spPr>
            <a:xfrm>
              <a:off x="8383986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3" name="Google Shape;553;p14"/>
            <p:cNvSpPr/>
            <p:nvPr/>
          </p:nvSpPr>
          <p:spPr>
            <a:xfrm>
              <a:off x="8704673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4" name="Google Shape;554;p14"/>
            <p:cNvSpPr/>
            <p:nvPr/>
          </p:nvSpPr>
          <p:spPr>
            <a:xfrm>
              <a:off x="9051727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5" name="Google Shape;555;p14"/>
            <p:cNvSpPr/>
            <p:nvPr/>
          </p:nvSpPr>
          <p:spPr>
            <a:xfrm>
              <a:off x="8989490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6" name="Google Shape;556;p14"/>
            <p:cNvSpPr/>
            <p:nvPr/>
          </p:nvSpPr>
          <p:spPr>
            <a:xfrm>
              <a:off x="2947858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7" name="Google Shape;557;p14"/>
            <p:cNvSpPr/>
            <p:nvPr/>
          </p:nvSpPr>
          <p:spPr>
            <a:xfrm>
              <a:off x="5703571" y="4544466"/>
              <a:ext cx="430904" cy="238875"/>
            </a:xfrm>
            <a:custGeom>
              <a:avLst/>
              <a:gdLst/>
              <a:ahLst/>
              <a:cxnLst/>
              <a:rect l="l" t="t" r="r" b="b"/>
              <a:pathLst>
                <a:path w="3808" h="2111" extrusionOk="0">
                  <a:moveTo>
                    <a:pt x="2242" y="0"/>
                  </a:moveTo>
                  <a:cubicBezTo>
                    <a:pt x="1840" y="0"/>
                    <a:pt x="1439" y="74"/>
                    <a:pt x="1058" y="222"/>
                  </a:cubicBezTo>
                  <a:cubicBezTo>
                    <a:pt x="170" y="582"/>
                    <a:pt x="0" y="2020"/>
                    <a:pt x="1100" y="2105"/>
                  </a:cubicBezTo>
                  <a:cubicBezTo>
                    <a:pt x="1149" y="2109"/>
                    <a:pt x="1199" y="2111"/>
                    <a:pt x="1250" y="2111"/>
                  </a:cubicBezTo>
                  <a:cubicBezTo>
                    <a:pt x="2007" y="2111"/>
                    <a:pt x="3057" y="1684"/>
                    <a:pt x="3532" y="1090"/>
                  </a:cubicBezTo>
                  <a:cubicBezTo>
                    <a:pt x="3680" y="878"/>
                    <a:pt x="3807" y="561"/>
                    <a:pt x="3638" y="349"/>
                  </a:cubicBezTo>
                  <a:cubicBezTo>
                    <a:pt x="3575" y="307"/>
                    <a:pt x="3511" y="244"/>
                    <a:pt x="3427" y="222"/>
                  </a:cubicBezTo>
                  <a:cubicBezTo>
                    <a:pt x="3046" y="74"/>
                    <a:pt x="2644" y="0"/>
                    <a:pt x="224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8" name="Google Shape;558;p14"/>
            <p:cNvSpPr/>
            <p:nvPr/>
          </p:nvSpPr>
          <p:spPr>
            <a:xfrm>
              <a:off x="8397169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9" name="Google Shape;559;p14"/>
            <p:cNvSpPr/>
            <p:nvPr/>
          </p:nvSpPr>
          <p:spPr>
            <a:xfrm>
              <a:off x="8717856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0" name="Google Shape;560;p14"/>
            <p:cNvSpPr/>
            <p:nvPr/>
          </p:nvSpPr>
          <p:spPr>
            <a:xfrm>
              <a:off x="5901035" y="4480920"/>
              <a:ext cx="62350" cy="125152"/>
            </a:xfrm>
            <a:custGeom>
              <a:avLst/>
              <a:gdLst/>
              <a:ahLst/>
              <a:cxnLst/>
              <a:rect l="l" t="t" r="r" b="b"/>
              <a:pathLst>
                <a:path w="551" h="1106" extrusionOk="0">
                  <a:moveTo>
                    <a:pt x="402" y="1"/>
                  </a:moveTo>
                  <a:cubicBezTo>
                    <a:pt x="334" y="1"/>
                    <a:pt x="276" y="42"/>
                    <a:pt x="276" y="112"/>
                  </a:cubicBezTo>
                  <a:lnTo>
                    <a:pt x="22" y="894"/>
                  </a:lnTo>
                  <a:cubicBezTo>
                    <a:pt x="1" y="979"/>
                    <a:pt x="22" y="1063"/>
                    <a:pt x="107" y="1106"/>
                  </a:cubicBezTo>
                  <a:lnTo>
                    <a:pt x="170" y="1106"/>
                  </a:lnTo>
                  <a:cubicBezTo>
                    <a:pt x="212" y="1106"/>
                    <a:pt x="276" y="1063"/>
                    <a:pt x="276" y="1000"/>
                  </a:cubicBezTo>
                  <a:lnTo>
                    <a:pt x="530" y="218"/>
                  </a:lnTo>
                  <a:cubicBezTo>
                    <a:pt x="551" y="133"/>
                    <a:pt x="509" y="48"/>
                    <a:pt x="445" y="6"/>
                  </a:cubicBezTo>
                  <a:cubicBezTo>
                    <a:pt x="431" y="2"/>
                    <a:pt x="416" y="1"/>
                    <a:pt x="40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1" name="Google Shape;561;p14"/>
            <p:cNvSpPr/>
            <p:nvPr/>
          </p:nvSpPr>
          <p:spPr>
            <a:xfrm>
              <a:off x="5836422" y="4435658"/>
              <a:ext cx="45602" cy="156044"/>
            </a:xfrm>
            <a:custGeom>
              <a:avLst/>
              <a:gdLst/>
              <a:ahLst/>
              <a:cxnLst/>
              <a:rect l="l" t="t" r="r" b="b"/>
              <a:pathLst>
                <a:path w="403" h="1379" extrusionOk="0">
                  <a:moveTo>
                    <a:pt x="160" y="0"/>
                  </a:moveTo>
                  <a:cubicBezTo>
                    <a:pt x="150" y="0"/>
                    <a:pt x="139" y="1"/>
                    <a:pt x="128" y="4"/>
                  </a:cubicBezTo>
                  <a:cubicBezTo>
                    <a:pt x="43" y="25"/>
                    <a:pt x="1" y="89"/>
                    <a:pt x="1" y="173"/>
                  </a:cubicBezTo>
                  <a:lnTo>
                    <a:pt x="107" y="1231"/>
                  </a:lnTo>
                  <a:cubicBezTo>
                    <a:pt x="107" y="1315"/>
                    <a:pt x="191" y="1379"/>
                    <a:pt x="276" y="1379"/>
                  </a:cubicBezTo>
                  <a:cubicBezTo>
                    <a:pt x="339" y="1358"/>
                    <a:pt x="403" y="1273"/>
                    <a:pt x="382" y="1189"/>
                  </a:cubicBezTo>
                  <a:lnTo>
                    <a:pt x="276" y="131"/>
                  </a:lnTo>
                  <a:cubicBezTo>
                    <a:pt x="276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2" name="Google Shape;562;p14"/>
            <p:cNvSpPr/>
            <p:nvPr/>
          </p:nvSpPr>
          <p:spPr>
            <a:xfrm>
              <a:off x="9064909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3" name="Google Shape;563;p14"/>
            <p:cNvSpPr/>
            <p:nvPr/>
          </p:nvSpPr>
          <p:spPr>
            <a:xfrm>
              <a:off x="9002673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64" name="Google Shape;564;p14"/>
          <p:cNvSpPr/>
          <p:nvPr/>
        </p:nvSpPr>
        <p:spPr>
          <a:xfrm>
            <a:off x="5028103" y="7083197"/>
            <a:ext cx="99125" cy="159175"/>
          </a:xfrm>
          <a:custGeom>
            <a:avLst/>
            <a:gdLst/>
            <a:ahLst/>
            <a:cxnLst/>
            <a:rect l="l" t="t" r="r" b="b"/>
            <a:pathLst>
              <a:path w="657" h="1055" extrusionOk="0">
                <a:moveTo>
                  <a:pt x="163" y="1"/>
                </a:moveTo>
                <a:cubicBezTo>
                  <a:pt x="144" y="1"/>
                  <a:pt x="124" y="6"/>
                  <a:pt x="107" y="18"/>
                </a:cubicBezTo>
                <a:cubicBezTo>
                  <a:pt x="43" y="60"/>
                  <a:pt x="1" y="166"/>
                  <a:pt x="43" y="229"/>
                </a:cubicBezTo>
                <a:lnTo>
                  <a:pt x="382" y="970"/>
                </a:lnTo>
                <a:cubicBezTo>
                  <a:pt x="403" y="1033"/>
                  <a:pt x="445" y="1054"/>
                  <a:pt x="509" y="1054"/>
                </a:cubicBezTo>
                <a:lnTo>
                  <a:pt x="572" y="1054"/>
                </a:lnTo>
                <a:cubicBezTo>
                  <a:pt x="635" y="991"/>
                  <a:pt x="657" y="906"/>
                  <a:pt x="635" y="822"/>
                </a:cubicBezTo>
                <a:lnTo>
                  <a:pt x="297" y="81"/>
                </a:lnTo>
                <a:cubicBezTo>
                  <a:pt x="267" y="36"/>
                  <a:pt x="214" y="1"/>
                  <a:pt x="16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5" name="Google Shape;565;p14"/>
          <p:cNvSpPr/>
          <p:nvPr/>
        </p:nvSpPr>
        <p:spPr>
          <a:xfrm>
            <a:off x="5146239" y="7006099"/>
            <a:ext cx="44811" cy="207456"/>
          </a:xfrm>
          <a:custGeom>
            <a:avLst/>
            <a:gdLst/>
            <a:ahLst/>
            <a:cxnLst/>
            <a:rect l="l" t="t" r="r" b="b"/>
            <a:pathLst>
              <a:path w="297" h="1375" extrusionOk="0">
                <a:moveTo>
                  <a:pt x="149" y="0"/>
                </a:moveTo>
                <a:cubicBezTo>
                  <a:pt x="64" y="0"/>
                  <a:pt x="0" y="85"/>
                  <a:pt x="0" y="148"/>
                </a:cubicBezTo>
                <a:lnTo>
                  <a:pt x="22" y="1206"/>
                </a:lnTo>
                <a:cubicBezTo>
                  <a:pt x="22" y="1290"/>
                  <a:pt x="85" y="1375"/>
                  <a:pt x="170" y="1375"/>
                </a:cubicBezTo>
                <a:cubicBezTo>
                  <a:pt x="233" y="1354"/>
                  <a:pt x="297" y="1290"/>
                  <a:pt x="297" y="1206"/>
                </a:cubicBezTo>
                <a:lnTo>
                  <a:pt x="275" y="148"/>
                </a:lnTo>
                <a:cubicBezTo>
                  <a:pt x="275" y="64"/>
                  <a:pt x="212" y="0"/>
                  <a:pt x="149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66" name="Google Shape;566;p14"/>
          <p:cNvGrpSpPr/>
          <p:nvPr/>
        </p:nvGrpSpPr>
        <p:grpSpPr>
          <a:xfrm>
            <a:off x="4271041" y="354215"/>
            <a:ext cx="951764" cy="935725"/>
            <a:chOff x="3203280" y="265661"/>
            <a:chExt cx="713823" cy="701794"/>
          </a:xfrm>
        </p:grpSpPr>
        <p:sp>
          <p:nvSpPr>
            <p:cNvPr id="567" name="Google Shape;567;p14"/>
            <p:cNvSpPr/>
            <p:nvPr/>
          </p:nvSpPr>
          <p:spPr>
            <a:xfrm rot="1116294" flipH="1">
              <a:off x="3275733" y="342115"/>
              <a:ext cx="568362" cy="544627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8" name="Google Shape;568;p14"/>
            <p:cNvSpPr/>
            <p:nvPr/>
          </p:nvSpPr>
          <p:spPr>
            <a:xfrm rot="1116294" flipH="1">
              <a:off x="3275213" y="346433"/>
              <a:ext cx="569951" cy="54432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9" name="Google Shape;569;p14"/>
            <p:cNvSpPr/>
            <p:nvPr/>
          </p:nvSpPr>
          <p:spPr>
            <a:xfrm rot="1116294" flipH="1">
              <a:off x="3344071" y="398803"/>
              <a:ext cx="445886" cy="42653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0" name="Google Shape;570;p14"/>
            <p:cNvSpPr/>
            <p:nvPr/>
          </p:nvSpPr>
          <p:spPr>
            <a:xfrm rot="1116294" flipH="1">
              <a:off x="3499063" y="442529"/>
              <a:ext cx="293775" cy="41711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1" name="Google Shape;571;p14"/>
            <p:cNvSpPr/>
            <p:nvPr/>
          </p:nvSpPr>
          <p:spPr>
            <a:xfrm rot="1116294" flipH="1">
              <a:off x="3275739" y="342097"/>
              <a:ext cx="568362" cy="544627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2" name="Google Shape;572;p14"/>
            <p:cNvSpPr/>
            <p:nvPr/>
          </p:nvSpPr>
          <p:spPr>
            <a:xfrm rot="1116294" flipH="1">
              <a:off x="3275219" y="346415"/>
              <a:ext cx="569951" cy="54432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3" name="Google Shape;573;p14"/>
            <p:cNvSpPr/>
            <p:nvPr/>
          </p:nvSpPr>
          <p:spPr>
            <a:xfrm rot="1116294" flipH="1">
              <a:off x="3344077" y="398785"/>
              <a:ext cx="445886" cy="42653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4" name="Google Shape;574;p14"/>
            <p:cNvSpPr/>
            <p:nvPr/>
          </p:nvSpPr>
          <p:spPr>
            <a:xfrm rot="1116174" flipH="1">
              <a:off x="3499040" y="449500"/>
              <a:ext cx="282613" cy="401236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75" name="Google Shape;575;p14"/>
          <p:cNvGrpSpPr/>
          <p:nvPr/>
        </p:nvGrpSpPr>
        <p:grpSpPr>
          <a:xfrm>
            <a:off x="10975053" y="3730051"/>
            <a:ext cx="530364" cy="509621"/>
            <a:chOff x="8231289" y="2797538"/>
            <a:chExt cx="397773" cy="382216"/>
          </a:xfrm>
        </p:grpSpPr>
        <p:sp>
          <p:nvSpPr>
            <p:cNvPr id="576" name="Google Shape;576;p14"/>
            <p:cNvSpPr/>
            <p:nvPr/>
          </p:nvSpPr>
          <p:spPr>
            <a:xfrm flipH="1">
              <a:off x="8231289" y="2797551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7" name="Google Shape;577;p14"/>
            <p:cNvSpPr/>
            <p:nvPr/>
          </p:nvSpPr>
          <p:spPr>
            <a:xfrm flipH="1">
              <a:off x="8231844" y="2800348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8" name="Google Shape;578;p14"/>
            <p:cNvSpPr/>
            <p:nvPr/>
          </p:nvSpPr>
          <p:spPr>
            <a:xfrm flipH="1">
              <a:off x="8278131" y="2835568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9" name="Google Shape;579;p14"/>
            <p:cNvSpPr/>
            <p:nvPr/>
          </p:nvSpPr>
          <p:spPr>
            <a:xfrm flipH="1">
              <a:off x="8391951" y="2847071"/>
              <a:ext cx="204742" cy="29073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0" name="Google Shape;580;p14"/>
            <p:cNvSpPr/>
            <p:nvPr/>
          </p:nvSpPr>
          <p:spPr>
            <a:xfrm flipH="1">
              <a:off x="8231289" y="2797538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1" name="Google Shape;581;p14"/>
            <p:cNvSpPr/>
            <p:nvPr/>
          </p:nvSpPr>
          <p:spPr>
            <a:xfrm flipH="1">
              <a:off x="8231844" y="2800334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2" name="Google Shape;582;p14"/>
            <p:cNvSpPr/>
            <p:nvPr/>
          </p:nvSpPr>
          <p:spPr>
            <a:xfrm flipH="1">
              <a:off x="8278131" y="2835555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3" name="Google Shape;583;p14"/>
            <p:cNvSpPr/>
            <p:nvPr/>
          </p:nvSpPr>
          <p:spPr>
            <a:xfrm flipH="1">
              <a:off x="8391904" y="2853207"/>
              <a:ext cx="196980" cy="27966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84" name="Google Shape;584;p14"/>
          <p:cNvSpPr/>
          <p:nvPr/>
        </p:nvSpPr>
        <p:spPr>
          <a:xfrm>
            <a:off x="9563775" y="166501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5" name="Google Shape;585;p14"/>
          <p:cNvSpPr/>
          <p:nvPr/>
        </p:nvSpPr>
        <p:spPr>
          <a:xfrm>
            <a:off x="3" y="834784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694296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3" name="Google Shape;1073;p30"/>
          <p:cNvGrpSpPr/>
          <p:nvPr/>
        </p:nvGrpSpPr>
        <p:grpSpPr>
          <a:xfrm>
            <a:off x="732203" y="644966"/>
            <a:ext cx="10679772" cy="5568084"/>
            <a:chOff x="549152" y="483724"/>
            <a:chExt cx="8009829" cy="4176063"/>
          </a:xfrm>
        </p:grpSpPr>
        <p:sp>
          <p:nvSpPr>
            <p:cNvPr id="1074" name="Google Shape;1074;p30"/>
            <p:cNvSpPr/>
            <p:nvPr/>
          </p:nvSpPr>
          <p:spPr>
            <a:xfrm rot="924102" flipH="1">
              <a:off x="7596871" y="3904036"/>
              <a:ext cx="698874" cy="66979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5" name="Google Shape;1075;p30"/>
            <p:cNvSpPr/>
            <p:nvPr/>
          </p:nvSpPr>
          <p:spPr>
            <a:xfrm rot="924102" flipH="1">
              <a:off x="7596518" y="3909319"/>
              <a:ext cx="700828" cy="669423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6" name="Google Shape;1076;p30"/>
            <p:cNvSpPr/>
            <p:nvPr/>
          </p:nvSpPr>
          <p:spPr>
            <a:xfrm rot="924102" flipH="1">
              <a:off x="7680721" y="3973265"/>
              <a:ext cx="548274" cy="52456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7" name="Google Shape;1077;p30"/>
            <p:cNvSpPr/>
            <p:nvPr/>
          </p:nvSpPr>
          <p:spPr>
            <a:xfrm rot="924102" flipH="1">
              <a:off x="7873834" y="4021536"/>
              <a:ext cx="361234" cy="512971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8" name="Google Shape;1078;p30"/>
            <p:cNvSpPr/>
            <p:nvPr/>
          </p:nvSpPr>
          <p:spPr>
            <a:xfrm rot="924102" flipH="1">
              <a:off x="7596878" y="3904014"/>
              <a:ext cx="698874" cy="66979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9" name="Google Shape;1079;p30"/>
            <p:cNvSpPr/>
            <p:nvPr/>
          </p:nvSpPr>
          <p:spPr>
            <a:xfrm rot="924102" flipH="1">
              <a:off x="7596524" y="3909297"/>
              <a:ext cx="700828" cy="669423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0" name="Google Shape;1080;p30"/>
            <p:cNvSpPr/>
            <p:nvPr/>
          </p:nvSpPr>
          <p:spPr>
            <a:xfrm rot="924102" flipH="1">
              <a:off x="7680727" y="3973242"/>
              <a:ext cx="548274" cy="52456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1" name="Google Shape;1081;p30"/>
            <p:cNvSpPr/>
            <p:nvPr/>
          </p:nvSpPr>
          <p:spPr>
            <a:xfrm rot="924111" flipH="1">
              <a:off x="7873686" y="4030480"/>
              <a:ext cx="347568" cy="49345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2" name="Google Shape;1082;p30"/>
            <p:cNvSpPr/>
            <p:nvPr/>
          </p:nvSpPr>
          <p:spPr>
            <a:xfrm flipH="1">
              <a:off x="8087957" y="483740"/>
              <a:ext cx="469056" cy="44954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3" name="Google Shape;1083;p30"/>
            <p:cNvSpPr/>
            <p:nvPr/>
          </p:nvSpPr>
          <p:spPr>
            <a:xfrm flipH="1">
              <a:off x="8088613" y="487051"/>
              <a:ext cx="470368" cy="44929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4" name="Google Shape;1084;p30"/>
            <p:cNvSpPr/>
            <p:nvPr/>
          </p:nvSpPr>
          <p:spPr>
            <a:xfrm flipH="1">
              <a:off x="8143423" y="528760"/>
              <a:ext cx="367980" cy="35207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5" name="Google Shape;1085;p30"/>
            <p:cNvSpPr/>
            <p:nvPr/>
          </p:nvSpPr>
          <p:spPr>
            <a:xfrm flipH="1">
              <a:off x="8278203" y="542382"/>
              <a:ext cx="242446" cy="344292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6" name="Google Shape;1086;p30"/>
            <p:cNvSpPr/>
            <p:nvPr/>
          </p:nvSpPr>
          <p:spPr>
            <a:xfrm flipH="1">
              <a:off x="8087957" y="483724"/>
              <a:ext cx="469056" cy="44954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7" name="Google Shape;1087;p30"/>
            <p:cNvSpPr/>
            <p:nvPr/>
          </p:nvSpPr>
          <p:spPr>
            <a:xfrm flipH="1">
              <a:off x="8088613" y="487036"/>
              <a:ext cx="470368" cy="44929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8" name="Google Shape;1088;p30"/>
            <p:cNvSpPr/>
            <p:nvPr/>
          </p:nvSpPr>
          <p:spPr>
            <a:xfrm flipH="1">
              <a:off x="8143423" y="528745"/>
              <a:ext cx="367980" cy="35207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9" name="Google Shape;1089;p30"/>
            <p:cNvSpPr/>
            <p:nvPr/>
          </p:nvSpPr>
          <p:spPr>
            <a:xfrm flipH="1">
              <a:off x="8278135" y="549649"/>
              <a:ext cx="233268" cy="331179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0" name="Google Shape;1090;p30"/>
            <p:cNvSpPr/>
            <p:nvPr/>
          </p:nvSpPr>
          <p:spPr>
            <a:xfrm rot="2153308" flipH="1">
              <a:off x="1827439" y="578552"/>
              <a:ext cx="469050" cy="449564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1" name="Google Shape;1091;p30"/>
            <p:cNvSpPr/>
            <p:nvPr/>
          </p:nvSpPr>
          <p:spPr>
            <a:xfrm rot="2153308" flipH="1">
              <a:off x="1825978" y="582028"/>
              <a:ext cx="470362" cy="449314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2" name="Google Shape;1092;p30"/>
            <p:cNvSpPr/>
            <p:nvPr/>
          </p:nvSpPr>
          <p:spPr>
            <a:xfrm rot="2153308" flipH="1">
              <a:off x="1884149" y="627167"/>
              <a:ext cx="367975" cy="35208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3" name="Google Shape;1093;p30"/>
            <p:cNvSpPr/>
            <p:nvPr/>
          </p:nvSpPr>
          <p:spPr>
            <a:xfrm rot="2153308" flipH="1">
              <a:off x="1999552" y="681156"/>
              <a:ext cx="242443" cy="344304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4" name="Google Shape;1094;p30"/>
            <p:cNvSpPr/>
            <p:nvPr/>
          </p:nvSpPr>
          <p:spPr>
            <a:xfrm rot="2153308" flipH="1">
              <a:off x="1827448" y="578539"/>
              <a:ext cx="469050" cy="449564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5" name="Google Shape;1095;p30"/>
            <p:cNvSpPr/>
            <p:nvPr/>
          </p:nvSpPr>
          <p:spPr>
            <a:xfrm rot="2153308" flipH="1">
              <a:off x="1825987" y="582015"/>
              <a:ext cx="470362" cy="449314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6" name="Google Shape;1096;p30"/>
            <p:cNvSpPr/>
            <p:nvPr/>
          </p:nvSpPr>
          <p:spPr>
            <a:xfrm rot="2153308" flipH="1">
              <a:off x="1884158" y="627155"/>
              <a:ext cx="367975" cy="35208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7" name="Google Shape;1097;p30"/>
            <p:cNvSpPr/>
            <p:nvPr/>
          </p:nvSpPr>
          <p:spPr>
            <a:xfrm rot="2153337" flipH="1">
              <a:off x="1999946" y="685554"/>
              <a:ext cx="233271" cy="331183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8" name="Google Shape;1098;p30"/>
            <p:cNvSpPr/>
            <p:nvPr/>
          </p:nvSpPr>
          <p:spPr>
            <a:xfrm flipH="1">
              <a:off x="549152" y="3931709"/>
              <a:ext cx="642127" cy="6154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9" name="Google Shape;1099;p30"/>
            <p:cNvSpPr/>
            <p:nvPr/>
          </p:nvSpPr>
          <p:spPr>
            <a:xfrm flipH="1">
              <a:off x="550050" y="3936243"/>
              <a:ext cx="643923" cy="61507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0" name="Google Shape;1100;p30"/>
            <p:cNvSpPr/>
            <p:nvPr/>
          </p:nvSpPr>
          <p:spPr>
            <a:xfrm flipH="1">
              <a:off x="625084" y="3993341"/>
              <a:ext cx="503756" cy="48197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1" name="Google Shape;1101;p30"/>
            <p:cNvSpPr/>
            <p:nvPr/>
          </p:nvSpPr>
          <p:spPr>
            <a:xfrm flipH="1">
              <a:off x="809595" y="4011989"/>
              <a:ext cx="331903" cy="47132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2" name="Google Shape;1102;p30"/>
            <p:cNvSpPr/>
            <p:nvPr/>
          </p:nvSpPr>
          <p:spPr>
            <a:xfrm flipH="1">
              <a:off x="549152" y="3931688"/>
              <a:ext cx="642127" cy="6154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3" name="Google Shape;1103;p30"/>
            <p:cNvSpPr/>
            <p:nvPr/>
          </p:nvSpPr>
          <p:spPr>
            <a:xfrm flipH="1">
              <a:off x="550050" y="3936221"/>
              <a:ext cx="643923" cy="61507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4" name="Google Shape;1104;p30"/>
            <p:cNvSpPr/>
            <p:nvPr/>
          </p:nvSpPr>
          <p:spPr>
            <a:xfrm flipH="1">
              <a:off x="625084" y="3993320"/>
              <a:ext cx="503756" cy="48197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5" name="Google Shape;1105;p30"/>
            <p:cNvSpPr/>
            <p:nvPr/>
          </p:nvSpPr>
          <p:spPr>
            <a:xfrm flipH="1">
              <a:off x="809491" y="4021937"/>
              <a:ext cx="319348" cy="45339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106" name="Google Shape;1106;p30"/>
          <p:cNvSpPr/>
          <p:nvPr/>
        </p:nvSpPr>
        <p:spPr>
          <a:xfrm flipH="1">
            <a:off x="6549803" y="267701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7" name="Google Shape;1107;p30"/>
          <p:cNvSpPr/>
          <p:nvPr/>
        </p:nvSpPr>
        <p:spPr>
          <a:xfrm flipH="1">
            <a:off x="9056775" y="2183784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8" name="Google Shape;1108;p30"/>
          <p:cNvSpPr/>
          <p:nvPr/>
        </p:nvSpPr>
        <p:spPr>
          <a:xfrm flipH="1">
            <a:off x="436926" y="2288635"/>
            <a:ext cx="2741407" cy="1401016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58563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1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0" name="Google Shape;1110;p31"/>
          <p:cNvSpPr/>
          <p:nvPr/>
        </p:nvSpPr>
        <p:spPr>
          <a:xfrm flipH="1">
            <a:off x="9878847" y="329201"/>
            <a:ext cx="1518157" cy="775865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1" name="Google Shape;1111;p31"/>
          <p:cNvSpPr/>
          <p:nvPr/>
        </p:nvSpPr>
        <p:spPr>
          <a:xfrm flipH="1">
            <a:off x="-805859" y="541717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2" name="Google Shape;1112;p31"/>
          <p:cNvSpPr/>
          <p:nvPr/>
        </p:nvSpPr>
        <p:spPr>
          <a:xfrm flipH="1">
            <a:off x="8936918" y="4675834"/>
            <a:ext cx="1922980" cy="982753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3" name="Google Shape;1113;p31"/>
          <p:cNvSpPr/>
          <p:nvPr/>
        </p:nvSpPr>
        <p:spPr>
          <a:xfrm rot="924001" flipH="1">
            <a:off x="4386190" y="272247"/>
            <a:ext cx="512148" cy="4908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4" name="Google Shape;1114;p31"/>
          <p:cNvSpPr/>
          <p:nvPr/>
        </p:nvSpPr>
        <p:spPr>
          <a:xfrm rot="924001" flipH="1">
            <a:off x="4385930" y="276117"/>
            <a:ext cx="513580" cy="490563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5" name="Google Shape;1115;p31"/>
          <p:cNvSpPr/>
          <p:nvPr/>
        </p:nvSpPr>
        <p:spPr>
          <a:xfrm rot="924001" flipH="1">
            <a:off x="4447637" y="322978"/>
            <a:ext cx="401785" cy="384407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6" name="Google Shape;1116;p31"/>
          <p:cNvSpPr/>
          <p:nvPr/>
        </p:nvSpPr>
        <p:spPr>
          <a:xfrm rot="924001" flipH="1">
            <a:off x="4589154" y="358349"/>
            <a:ext cx="264719" cy="375912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7" name="Google Shape;1117;p31"/>
          <p:cNvSpPr/>
          <p:nvPr/>
        </p:nvSpPr>
        <p:spPr>
          <a:xfrm rot="924001" flipH="1">
            <a:off x="4386194" y="272229"/>
            <a:ext cx="512148" cy="4908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8" name="Google Shape;1118;p31"/>
          <p:cNvSpPr/>
          <p:nvPr/>
        </p:nvSpPr>
        <p:spPr>
          <a:xfrm rot="924001" flipH="1">
            <a:off x="4385935" y="276101"/>
            <a:ext cx="513580" cy="490563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9" name="Google Shape;1119;p31"/>
          <p:cNvSpPr/>
          <p:nvPr/>
        </p:nvSpPr>
        <p:spPr>
          <a:xfrm rot="924001" flipH="1">
            <a:off x="4447641" y="322962"/>
            <a:ext cx="401785" cy="384407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0" name="Google Shape;1120;p31"/>
          <p:cNvSpPr/>
          <p:nvPr/>
        </p:nvSpPr>
        <p:spPr>
          <a:xfrm rot="924250" flipH="1">
            <a:off x="4589031" y="364892"/>
            <a:ext cx="254715" cy="36162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1" name="Google Shape;1121;p31"/>
          <p:cNvSpPr/>
          <p:nvPr/>
        </p:nvSpPr>
        <p:spPr>
          <a:xfrm rot="1473651" flipH="1">
            <a:off x="297329" y="5973359"/>
            <a:ext cx="625377" cy="5994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2" name="Google Shape;1122;p31"/>
          <p:cNvSpPr/>
          <p:nvPr/>
        </p:nvSpPr>
        <p:spPr>
          <a:xfrm rot="1473651" flipH="1">
            <a:off x="296279" y="5978118"/>
            <a:ext cx="627127" cy="599087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3" name="Google Shape;1123;p31"/>
          <p:cNvSpPr/>
          <p:nvPr/>
        </p:nvSpPr>
        <p:spPr>
          <a:xfrm rot="1473651" flipH="1">
            <a:off x="372740" y="6036564"/>
            <a:ext cx="490616" cy="469445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4" name="Google Shape;1124;p31"/>
          <p:cNvSpPr/>
          <p:nvPr/>
        </p:nvSpPr>
        <p:spPr>
          <a:xfrm rot="1473651" flipH="1">
            <a:off x="538359" y="6093462"/>
            <a:ext cx="323245" cy="45907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5" name="Google Shape;1125;p31"/>
          <p:cNvSpPr/>
          <p:nvPr/>
        </p:nvSpPr>
        <p:spPr>
          <a:xfrm rot="1473651" flipH="1">
            <a:off x="297337" y="5973341"/>
            <a:ext cx="625377" cy="5994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6" name="Google Shape;1126;p31"/>
          <p:cNvSpPr/>
          <p:nvPr/>
        </p:nvSpPr>
        <p:spPr>
          <a:xfrm rot="1473651" flipH="1">
            <a:off x="296287" y="5978099"/>
            <a:ext cx="627127" cy="599087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7" name="Google Shape;1127;p31"/>
          <p:cNvSpPr/>
          <p:nvPr/>
        </p:nvSpPr>
        <p:spPr>
          <a:xfrm rot="1473651" flipH="1">
            <a:off x="372749" y="6036546"/>
            <a:ext cx="490616" cy="469445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8" name="Google Shape;1128;p31"/>
          <p:cNvSpPr/>
          <p:nvPr/>
        </p:nvSpPr>
        <p:spPr>
          <a:xfrm rot="1473785" flipH="1">
            <a:off x="538412" y="6100468"/>
            <a:ext cx="311019" cy="441565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9" name="Google Shape;1129;p31"/>
          <p:cNvSpPr/>
          <p:nvPr/>
        </p:nvSpPr>
        <p:spPr>
          <a:xfrm flipH="1">
            <a:off x="10763137" y="2757930"/>
            <a:ext cx="856169" cy="820557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0" name="Google Shape;1130;p31"/>
          <p:cNvSpPr/>
          <p:nvPr/>
        </p:nvSpPr>
        <p:spPr>
          <a:xfrm flipH="1">
            <a:off x="10764334" y="2763974"/>
            <a:ext cx="858564" cy="82010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1" name="Google Shape;1131;p31"/>
          <p:cNvSpPr/>
          <p:nvPr/>
        </p:nvSpPr>
        <p:spPr>
          <a:xfrm flipH="1">
            <a:off x="10864379" y="2840106"/>
            <a:ext cx="671675" cy="64263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2" name="Google Shape;1132;p31"/>
          <p:cNvSpPr/>
          <p:nvPr/>
        </p:nvSpPr>
        <p:spPr>
          <a:xfrm flipH="1">
            <a:off x="11110394" y="2864970"/>
            <a:ext cx="442537" cy="62843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3" name="Google Shape;1133;p31"/>
          <p:cNvSpPr/>
          <p:nvPr/>
        </p:nvSpPr>
        <p:spPr>
          <a:xfrm flipH="1">
            <a:off x="10763137" y="2757900"/>
            <a:ext cx="856169" cy="820557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4" name="Google Shape;1134;p31"/>
          <p:cNvSpPr/>
          <p:nvPr/>
        </p:nvSpPr>
        <p:spPr>
          <a:xfrm flipH="1">
            <a:off x="10764334" y="2763946"/>
            <a:ext cx="858564" cy="82010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5" name="Google Shape;1135;p31"/>
          <p:cNvSpPr/>
          <p:nvPr/>
        </p:nvSpPr>
        <p:spPr>
          <a:xfrm flipH="1">
            <a:off x="10864379" y="2840077"/>
            <a:ext cx="671675" cy="64263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6" name="Google Shape;1136;p31"/>
          <p:cNvSpPr/>
          <p:nvPr/>
        </p:nvSpPr>
        <p:spPr>
          <a:xfrm flipH="1">
            <a:off x="11110255" y="2878233"/>
            <a:ext cx="425797" cy="604520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9665002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EF87E-F83A-4AA1-9883-AD50C4792E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9DB7525-6683-4F6F-AB8A-513A1D2A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E3FE6C-976E-47A2-81CA-C479752C28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DD006C-7D53-4B4D-8349-56CDEC6E6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8D00AD-D9D2-4EFE-A536-E14927A31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2779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113B7C-8BF7-416F-9E9E-C73CCDF97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23D64A-E1A2-4889-B7CD-6C25E97CAB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0F37C0-5F82-4677-BCA7-66E1B0D451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732A41-1AF6-4B87-8B9B-90A8A23C5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3A7DA5-A591-4218-8CF7-04DFC3B28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339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91C2C4-EE01-4E6E-8356-95AB5C95D9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3EE01A-6E66-4681-9B67-193153FDC1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44AF82-BE7A-4D6E-A003-FC5215EFE6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069E5B3-FA30-438A-B60F-2CAEF6B816D0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C72C07-8C60-4F82-A88F-EE926338F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6547B9-1309-4A8E-864C-9E994F0AC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0B0705-DE6A-43FB-843C-81BD7F07A9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871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3000">
              <a:srgbClr val="78D3F8"/>
            </a:gs>
            <a:gs pos="0">
              <a:schemeClr val="bg1"/>
            </a:gs>
            <a:gs pos="100000">
              <a:srgbClr val="00B0F0"/>
            </a:gs>
          </a:gsLst>
          <a:lin ang="5400012" scaled="0"/>
          <a:tileRect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4C7CB03-FD9D-051B-5F92-E8A8C30B48B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D96FB96-57CE-8AB6-7A4E-15A574ED8280}"/>
              </a:ext>
            </a:extLst>
          </p:cNvPr>
          <p:cNvSpPr/>
          <p:nvPr userDrawn="1"/>
        </p:nvSpPr>
        <p:spPr>
          <a:xfrm>
            <a:off x="228600" y="270168"/>
            <a:ext cx="11811000" cy="6539864"/>
          </a:xfrm>
          <a:custGeom>
            <a:avLst/>
            <a:gdLst>
              <a:gd name="connsiteX0" fmla="*/ 0 w 11811000"/>
              <a:gd name="connsiteY0" fmla="*/ 882228 h 6539864"/>
              <a:gd name="connsiteX1" fmla="*/ 882228 w 11811000"/>
              <a:gd name="connsiteY1" fmla="*/ 0 h 6539864"/>
              <a:gd name="connsiteX2" fmla="*/ 1351067 w 11811000"/>
              <a:gd name="connsiteY2" fmla="*/ 0 h 6539864"/>
              <a:gd name="connsiteX3" fmla="*/ 1719440 w 11811000"/>
              <a:gd name="connsiteY3" fmla="*/ 0 h 6539864"/>
              <a:gd name="connsiteX4" fmla="*/ 2590140 w 11811000"/>
              <a:gd name="connsiteY4" fmla="*/ 0 h 6539864"/>
              <a:gd name="connsiteX5" fmla="*/ 2958514 w 11811000"/>
              <a:gd name="connsiteY5" fmla="*/ 0 h 6539864"/>
              <a:gd name="connsiteX6" fmla="*/ 3829214 w 11811000"/>
              <a:gd name="connsiteY6" fmla="*/ 0 h 6539864"/>
              <a:gd name="connsiteX7" fmla="*/ 4699915 w 11811000"/>
              <a:gd name="connsiteY7" fmla="*/ 0 h 6539864"/>
              <a:gd name="connsiteX8" fmla="*/ 5369684 w 11811000"/>
              <a:gd name="connsiteY8" fmla="*/ 0 h 6539864"/>
              <a:gd name="connsiteX9" fmla="*/ 6139919 w 11811000"/>
              <a:gd name="connsiteY9" fmla="*/ 0 h 6539864"/>
              <a:gd name="connsiteX10" fmla="*/ 6508293 w 11811000"/>
              <a:gd name="connsiteY10" fmla="*/ 0 h 6539864"/>
              <a:gd name="connsiteX11" fmla="*/ 6876666 w 11811000"/>
              <a:gd name="connsiteY11" fmla="*/ 0 h 6539864"/>
              <a:gd name="connsiteX12" fmla="*/ 7646901 w 11811000"/>
              <a:gd name="connsiteY12" fmla="*/ 0 h 6539864"/>
              <a:gd name="connsiteX13" fmla="*/ 8015274 w 11811000"/>
              <a:gd name="connsiteY13" fmla="*/ 0 h 6539864"/>
              <a:gd name="connsiteX14" fmla="*/ 8484113 w 11811000"/>
              <a:gd name="connsiteY14" fmla="*/ 0 h 6539864"/>
              <a:gd name="connsiteX15" fmla="*/ 9053417 w 11811000"/>
              <a:gd name="connsiteY15" fmla="*/ 0 h 6539864"/>
              <a:gd name="connsiteX16" fmla="*/ 9522256 w 11811000"/>
              <a:gd name="connsiteY16" fmla="*/ 0 h 6539864"/>
              <a:gd name="connsiteX17" fmla="*/ 10192025 w 11811000"/>
              <a:gd name="connsiteY17" fmla="*/ 0 h 6539864"/>
              <a:gd name="connsiteX18" fmla="*/ 10928772 w 11811000"/>
              <a:gd name="connsiteY18" fmla="*/ 0 h 6539864"/>
              <a:gd name="connsiteX19" fmla="*/ 11811000 w 11811000"/>
              <a:gd name="connsiteY19" fmla="*/ 882228 h 6539864"/>
              <a:gd name="connsiteX20" fmla="*/ 11811000 w 11811000"/>
              <a:gd name="connsiteY20" fmla="*/ 1468921 h 6539864"/>
              <a:gd name="connsiteX21" fmla="*/ 11811000 w 11811000"/>
              <a:gd name="connsiteY21" fmla="*/ 2151122 h 6539864"/>
              <a:gd name="connsiteX22" fmla="*/ 11811000 w 11811000"/>
              <a:gd name="connsiteY22" fmla="*/ 2785569 h 6539864"/>
              <a:gd name="connsiteX23" fmla="*/ 11811000 w 11811000"/>
              <a:gd name="connsiteY23" fmla="*/ 3563278 h 6539864"/>
              <a:gd name="connsiteX24" fmla="*/ 11811000 w 11811000"/>
              <a:gd name="connsiteY24" fmla="*/ 4197726 h 6539864"/>
              <a:gd name="connsiteX25" fmla="*/ 11811000 w 11811000"/>
              <a:gd name="connsiteY25" fmla="*/ 4975435 h 6539864"/>
              <a:gd name="connsiteX26" fmla="*/ 11811000 w 11811000"/>
              <a:gd name="connsiteY26" fmla="*/ 5657636 h 6539864"/>
              <a:gd name="connsiteX27" fmla="*/ 10928772 w 11811000"/>
              <a:gd name="connsiteY27" fmla="*/ 6539864 h 6539864"/>
              <a:gd name="connsiteX28" fmla="*/ 10560399 w 11811000"/>
              <a:gd name="connsiteY28" fmla="*/ 6539864 h 6539864"/>
              <a:gd name="connsiteX29" fmla="*/ 9991095 w 11811000"/>
              <a:gd name="connsiteY29" fmla="*/ 6539864 h 6539864"/>
              <a:gd name="connsiteX30" fmla="*/ 9522256 w 11811000"/>
              <a:gd name="connsiteY30" fmla="*/ 6539864 h 6539864"/>
              <a:gd name="connsiteX31" fmla="*/ 8852486 w 11811000"/>
              <a:gd name="connsiteY31" fmla="*/ 6539864 h 6539864"/>
              <a:gd name="connsiteX32" fmla="*/ 7981786 w 11811000"/>
              <a:gd name="connsiteY32" fmla="*/ 6539864 h 6539864"/>
              <a:gd name="connsiteX33" fmla="*/ 7613412 w 11811000"/>
              <a:gd name="connsiteY33" fmla="*/ 6539864 h 6539864"/>
              <a:gd name="connsiteX34" fmla="*/ 7144574 w 11811000"/>
              <a:gd name="connsiteY34" fmla="*/ 6539864 h 6539864"/>
              <a:gd name="connsiteX35" fmla="*/ 6474804 w 11811000"/>
              <a:gd name="connsiteY35" fmla="*/ 6539864 h 6539864"/>
              <a:gd name="connsiteX36" fmla="*/ 6106431 w 11811000"/>
              <a:gd name="connsiteY36" fmla="*/ 6539864 h 6539864"/>
              <a:gd name="connsiteX37" fmla="*/ 5336196 w 11811000"/>
              <a:gd name="connsiteY37" fmla="*/ 6539864 h 6539864"/>
              <a:gd name="connsiteX38" fmla="*/ 4465495 w 11811000"/>
              <a:gd name="connsiteY38" fmla="*/ 6539864 h 6539864"/>
              <a:gd name="connsiteX39" fmla="*/ 3594795 w 11811000"/>
              <a:gd name="connsiteY39" fmla="*/ 6539864 h 6539864"/>
              <a:gd name="connsiteX40" fmla="*/ 3125956 w 11811000"/>
              <a:gd name="connsiteY40" fmla="*/ 6539864 h 6539864"/>
              <a:gd name="connsiteX41" fmla="*/ 2456187 w 11811000"/>
              <a:gd name="connsiteY41" fmla="*/ 6539864 h 6539864"/>
              <a:gd name="connsiteX42" fmla="*/ 1886882 w 11811000"/>
              <a:gd name="connsiteY42" fmla="*/ 6539864 h 6539864"/>
              <a:gd name="connsiteX43" fmla="*/ 882228 w 11811000"/>
              <a:gd name="connsiteY43" fmla="*/ 6539864 h 6539864"/>
              <a:gd name="connsiteX44" fmla="*/ 0 w 11811000"/>
              <a:gd name="connsiteY44" fmla="*/ 5657636 h 6539864"/>
              <a:gd name="connsiteX45" fmla="*/ 0 w 11811000"/>
              <a:gd name="connsiteY45" fmla="*/ 4879927 h 6539864"/>
              <a:gd name="connsiteX46" fmla="*/ 0 w 11811000"/>
              <a:gd name="connsiteY46" fmla="*/ 4340988 h 6539864"/>
              <a:gd name="connsiteX47" fmla="*/ 0 w 11811000"/>
              <a:gd name="connsiteY47" fmla="*/ 3706541 h 6539864"/>
              <a:gd name="connsiteX48" fmla="*/ 0 w 11811000"/>
              <a:gd name="connsiteY48" fmla="*/ 3072094 h 6539864"/>
              <a:gd name="connsiteX49" fmla="*/ 0 w 11811000"/>
              <a:gd name="connsiteY49" fmla="*/ 2389893 h 6539864"/>
              <a:gd name="connsiteX50" fmla="*/ 0 w 11811000"/>
              <a:gd name="connsiteY50" fmla="*/ 1755445 h 6539864"/>
              <a:gd name="connsiteX51" fmla="*/ 0 w 11811000"/>
              <a:gd name="connsiteY51" fmla="*/ 882228 h 6539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1811000" h="6539864" fill="none" extrusionOk="0">
                <a:moveTo>
                  <a:pt x="0" y="882228"/>
                </a:moveTo>
                <a:cubicBezTo>
                  <a:pt x="98046" y="342791"/>
                  <a:pt x="427893" y="-237"/>
                  <a:pt x="882228" y="0"/>
                </a:cubicBezTo>
                <a:cubicBezTo>
                  <a:pt x="1068280" y="12048"/>
                  <a:pt x="1225170" y="-5588"/>
                  <a:pt x="1351067" y="0"/>
                </a:cubicBezTo>
                <a:cubicBezTo>
                  <a:pt x="1476964" y="5588"/>
                  <a:pt x="1618411" y="9561"/>
                  <a:pt x="1719440" y="0"/>
                </a:cubicBezTo>
                <a:cubicBezTo>
                  <a:pt x="1820469" y="-9561"/>
                  <a:pt x="2332720" y="12266"/>
                  <a:pt x="2590140" y="0"/>
                </a:cubicBezTo>
                <a:cubicBezTo>
                  <a:pt x="2847560" y="-12266"/>
                  <a:pt x="2845042" y="4629"/>
                  <a:pt x="2958514" y="0"/>
                </a:cubicBezTo>
                <a:cubicBezTo>
                  <a:pt x="3071986" y="-4629"/>
                  <a:pt x="3654404" y="378"/>
                  <a:pt x="3829214" y="0"/>
                </a:cubicBezTo>
                <a:cubicBezTo>
                  <a:pt x="4004024" y="-378"/>
                  <a:pt x="4519372" y="7866"/>
                  <a:pt x="4699915" y="0"/>
                </a:cubicBezTo>
                <a:cubicBezTo>
                  <a:pt x="4880458" y="-7866"/>
                  <a:pt x="5061901" y="-26519"/>
                  <a:pt x="5369684" y="0"/>
                </a:cubicBezTo>
                <a:cubicBezTo>
                  <a:pt x="5677467" y="26519"/>
                  <a:pt x="5851477" y="-19104"/>
                  <a:pt x="6139919" y="0"/>
                </a:cubicBezTo>
                <a:cubicBezTo>
                  <a:pt x="6428361" y="19104"/>
                  <a:pt x="6405147" y="-17922"/>
                  <a:pt x="6508293" y="0"/>
                </a:cubicBezTo>
                <a:cubicBezTo>
                  <a:pt x="6611439" y="17922"/>
                  <a:pt x="6799506" y="14597"/>
                  <a:pt x="6876666" y="0"/>
                </a:cubicBezTo>
                <a:cubicBezTo>
                  <a:pt x="6953826" y="-14597"/>
                  <a:pt x="7459138" y="8400"/>
                  <a:pt x="7646901" y="0"/>
                </a:cubicBezTo>
                <a:cubicBezTo>
                  <a:pt x="7834665" y="-8400"/>
                  <a:pt x="7845559" y="4612"/>
                  <a:pt x="8015274" y="0"/>
                </a:cubicBezTo>
                <a:cubicBezTo>
                  <a:pt x="8184989" y="-4612"/>
                  <a:pt x="8326282" y="-4851"/>
                  <a:pt x="8484113" y="0"/>
                </a:cubicBezTo>
                <a:cubicBezTo>
                  <a:pt x="8641944" y="4851"/>
                  <a:pt x="8885179" y="15083"/>
                  <a:pt x="9053417" y="0"/>
                </a:cubicBezTo>
                <a:cubicBezTo>
                  <a:pt x="9221655" y="-15083"/>
                  <a:pt x="9366443" y="22221"/>
                  <a:pt x="9522256" y="0"/>
                </a:cubicBezTo>
                <a:cubicBezTo>
                  <a:pt x="9678069" y="-22221"/>
                  <a:pt x="9966090" y="-14129"/>
                  <a:pt x="10192025" y="0"/>
                </a:cubicBezTo>
                <a:cubicBezTo>
                  <a:pt x="10417960" y="14129"/>
                  <a:pt x="10620697" y="-34388"/>
                  <a:pt x="10928772" y="0"/>
                </a:cubicBezTo>
                <a:cubicBezTo>
                  <a:pt x="11465871" y="84052"/>
                  <a:pt x="11847397" y="346556"/>
                  <a:pt x="11811000" y="882228"/>
                </a:cubicBezTo>
                <a:cubicBezTo>
                  <a:pt x="11821565" y="1071851"/>
                  <a:pt x="11806976" y="1333017"/>
                  <a:pt x="11811000" y="1468921"/>
                </a:cubicBezTo>
                <a:cubicBezTo>
                  <a:pt x="11815024" y="1604825"/>
                  <a:pt x="11784784" y="1954567"/>
                  <a:pt x="11811000" y="2151122"/>
                </a:cubicBezTo>
                <a:cubicBezTo>
                  <a:pt x="11837216" y="2347677"/>
                  <a:pt x="11823186" y="2527502"/>
                  <a:pt x="11811000" y="2785569"/>
                </a:cubicBezTo>
                <a:cubicBezTo>
                  <a:pt x="11798814" y="3043636"/>
                  <a:pt x="11772199" y="3275472"/>
                  <a:pt x="11811000" y="3563278"/>
                </a:cubicBezTo>
                <a:cubicBezTo>
                  <a:pt x="11849801" y="3851084"/>
                  <a:pt x="11834668" y="3906244"/>
                  <a:pt x="11811000" y="4197726"/>
                </a:cubicBezTo>
                <a:cubicBezTo>
                  <a:pt x="11787332" y="4489208"/>
                  <a:pt x="11842123" y="4720921"/>
                  <a:pt x="11811000" y="4975435"/>
                </a:cubicBezTo>
                <a:cubicBezTo>
                  <a:pt x="11779877" y="5229949"/>
                  <a:pt x="11811331" y="5466327"/>
                  <a:pt x="11811000" y="5657636"/>
                </a:cubicBezTo>
                <a:cubicBezTo>
                  <a:pt x="11827770" y="6080736"/>
                  <a:pt x="11439678" y="6560140"/>
                  <a:pt x="10928772" y="6539864"/>
                </a:cubicBezTo>
                <a:cubicBezTo>
                  <a:pt x="10832962" y="6553222"/>
                  <a:pt x="10641326" y="6549147"/>
                  <a:pt x="10560399" y="6539864"/>
                </a:cubicBezTo>
                <a:cubicBezTo>
                  <a:pt x="10479472" y="6530581"/>
                  <a:pt x="10222253" y="6529759"/>
                  <a:pt x="9991095" y="6539864"/>
                </a:cubicBezTo>
                <a:cubicBezTo>
                  <a:pt x="9759937" y="6549969"/>
                  <a:pt x="9754618" y="6532729"/>
                  <a:pt x="9522256" y="6539864"/>
                </a:cubicBezTo>
                <a:cubicBezTo>
                  <a:pt x="9289894" y="6546999"/>
                  <a:pt x="8987354" y="6562030"/>
                  <a:pt x="8852486" y="6539864"/>
                </a:cubicBezTo>
                <a:cubicBezTo>
                  <a:pt x="8717618" y="6517699"/>
                  <a:pt x="8398444" y="6533895"/>
                  <a:pt x="7981786" y="6539864"/>
                </a:cubicBezTo>
                <a:cubicBezTo>
                  <a:pt x="7565128" y="6545833"/>
                  <a:pt x="7766524" y="6544861"/>
                  <a:pt x="7613412" y="6539864"/>
                </a:cubicBezTo>
                <a:cubicBezTo>
                  <a:pt x="7460300" y="6534867"/>
                  <a:pt x="7318273" y="6524701"/>
                  <a:pt x="7144574" y="6539864"/>
                </a:cubicBezTo>
                <a:cubicBezTo>
                  <a:pt x="6970875" y="6555027"/>
                  <a:pt x="6627690" y="6560652"/>
                  <a:pt x="6474804" y="6539864"/>
                </a:cubicBezTo>
                <a:cubicBezTo>
                  <a:pt x="6321918" y="6519077"/>
                  <a:pt x="6199180" y="6536426"/>
                  <a:pt x="6106431" y="6539864"/>
                </a:cubicBezTo>
                <a:cubicBezTo>
                  <a:pt x="6013682" y="6543302"/>
                  <a:pt x="5580058" y="6523941"/>
                  <a:pt x="5336196" y="6539864"/>
                </a:cubicBezTo>
                <a:cubicBezTo>
                  <a:pt x="5092335" y="6555787"/>
                  <a:pt x="4868691" y="6570879"/>
                  <a:pt x="4465495" y="6539864"/>
                </a:cubicBezTo>
                <a:cubicBezTo>
                  <a:pt x="4062299" y="6508849"/>
                  <a:pt x="3897966" y="6542109"/>
                  <a:pt x="3594795" y="6539864"/>
                </a:cubicBezTo>
                <a:cubicBezTo>
                  <a:pt x="3291624" y="6537619"/>
                  <a:pt x="3253574" y="6559757"/>
                  <a:pt x="3125956" y="6539864"/>
                </a:cubicBezTo>
                <a:cubicBezTo>
                  <a:pt x="2998338" y="6519971"/>
                  <a:pt x="2654701" y="6554761"/>
                  <a:pt x="2456187" y="6539864"/>
                </a:cubicBezTo>
                <a:cubicBezTo>
                  <a:pt x="2257673" y="6524967"/>
                  <a:pt x="2010719" y="6548956"/>
                  <a:pt x="1886882" y="6539864"/>
                </a:cubicBezTo>
                <a:cubicBezTo>
                  <a:pt x="1763046" y="6530772"/>
                  <a:pt x="1328299" y="6562509"/>
                  <a:pt x="882228" y="6539864"/>
                </a:cubicBezTo>
                <a:cubicBezTo>
                  <a:pt x="394409" y="6601633"/>
                  <a:pt x="-3418" y="6095289"/>
                  <a:pt x="0" y="5657636"/>
                </a:cubicBezTo>
                <a:cubicBezTo>
                  <a:pt x="27356" y="5422772"/>
                  <a:pt x="-12072" y="5133619"/>
                  <a:pt x="0" y="4879927"/>
                </a:cubicBezTo>
                <a:cubicBezTo>
                  <a:pt x="12072" y="4626235"/>
                  <a:pt x="-24376" y="4451695"/>
                  <a:pt x="0" y="4340988"/>
                </a:cubicBezTo>
                <a:cubicBezTo>
                  <a:pt x="24376" y="4230281"/>
                  <a:pt x="19282" y="3946301"/>
                  <a:pt x="0" y="3706541"/>
                </a:cubicBezTo>
                <a:cubicBezTo>
                  <a:pt x="-19282" y="3466781"/>
                  <a:pt x="1626" y="3215558"/>
                  <a:pt x="0" y="3072094"/>
                </a:cubicBezTo>
                <a:cubicBezTo>
                  <a:pt x="-1626" y="2928630"/>
                  <a:pt x="5370" y="2643781"/>
                  <a:pt x="0" y="2389893"/>
                </a:cubicBezTo>
                <a:cubicBezTo>
                  <a:pt x="-5370" y="2136005"/>
                  <a:pt x="5605" y="1956794"/>
                  <a:pt x="0" y="1755445"/>
                </a:cubicBezTo>
                <a:cubicBezTo>
                  <a:pt x="-5605" y="1554096"/>
                  <a:pt x="13332" y="1063627"/>
                  <a:pt x="0" y="882228"/>
                </a:cubicBezTo>
                <a:close/>
              </a:path>
              <a:path w="11811000" h="6539864" stroke="0" extrusionOk="0">
                <a:moveTo>
                  <a:pt x="0" y="882228"/>
                </a:moveTo>
                <a:cubicBezTo>
                  <a:pt x="38558" y="413318"/>
                  <a:pt x="328774" y="-51268"/>
                  <a:pt x="882228" y="0"/>
                </a:cubicBezTo>
                <a:cubicBezTo>
                  <a:pt x="1064866" y="13159"/>
                  <a:pt x="1406756" y="9333"/>
                  <a:pt x="1551998" y="0"/>
                </a:cubicBezTo>
                <a:cubicBezTo>
                  <a:pt x="1697240" y="-9333"/>
                  <a:pt x="1984044" y="-23614"/>
                  <a:pt x="2121302" y="0"/>
                </a:cubicBezTo>
                <a:cubicBezTo>
                  <a:pt x="2258560" y="23614"/>
                  <a:pt x="2408176" y="17105"/>
                  <a:pt x="2489675" y="0"/>
                </a:cubicBezTo>
                <a:cubicBezTo>
                  <a:pt x="2571174" y="-17105"/>
                  <a:pt x="2932867" y="30755"/>
                  <a:pt x="3259910" y="0"/>
                </a:cubicBezTo>
                <a:cubicBezTo>
                  <a:pt x="3586954" y="-30755"/>
                  <a:pt x="3767928" y="29922"/>
                  <a:pt x="4030145" y="0"/>
                </a:cubicBezTo>
                <a:cubicBezTo>
                  <a:pt x="4292363" y="-29922"/>
                  <a:pt x="4224745" y="5686"/>
                  <a:pt x="4398518" y="0"/>
                </a:cubicBezTo>
                <a:cubicBezTo>
                  <a:pt x="4572291" y="-5686"/>
                  <a:pt x="4987826" y="24892"/>
                  <a:pt x="5269219" y="0"/>
                </a:cubicBezTo>
                <a:cubicBezTo>
                  <a:pt x="5550612" y="-24892"/>
                  <a:pt x="5518053" y="-3582"/>
                  <a:pt x="5637592" y="0"/>
                </a:cubicBezTo>
                <a:cubicBezTo>
                  <a:pt x="5757131" y="3582"/>
                  <a:pt x="6063108" y="-21274"/>
                  <a:pt x="6307362" y="0"/>
                </a:cubicBezTo>
                <a:cubicBezTo>
                  <a:pt x="6551616" y="21274"/>
                  <a:pt x="6572270" y="12531"/>
                  <a:pt x="6776200" y="0"/>
                </a:cubicBezTo>
                <a:cubicBezTo>
                  <a:pt x="6980130" y="-12531"/>
                  <a:pt x="7301110" y="10693"/>
                  <a:pt x="7546436" y="0"/>
                </a:cubicBezTo>
                <a:cubicBezTo>
                  <a:pt x="7791762" y="-10693"/>
                  <a:pt x="7805424" y="-15068"/>
                  <a:pt x="8015274" y="0"/>
                </a:cubicBezTo>
                <a:cubicBezTo>
                  <a:pt x="8225124" y="15068"/>
                  <a:pt x="8302794" y="-11019"/>
                  <a:pt x="8383648" y="0"/>
                </a:cubicBezTo>
                <a:cubicBezTo>
                  <a:pt x="8464502" y="11019"/>
                  <a:pt x="8848339" y="22545"/>
                  <a:pt x="9254348" y="0"/>
                </a:cubicBezTo>
                <a:cubicBezTo>
                  <a:pt x="9660357" y="-22545"/>
                  <a:pt x="9939886" y="-2104"/>
                  <a:pt x="10125048" y="0"/>
                </a:cubicBezTo>
                <a:cubicBezTo>
                  <a:pt x="10310210" y="2104"/>
                  <a:pt x="10620101" y="-17816"/>
                  <a:pt x="10928772" y="0"/>
                </a:cubicBezTo>
                <a:cubicBezTo>
                  <a:pt x="11468650" y="20300"/>
                  <a:pt x="11744732" y="464791"/>
                  <a:pt x="11811000" y="882228"/>
                </a:cubicBezTo>
                <a:cubicBezTo>
                  <a:pt x="11803752" y="1112751"/>
                  <a:pt x="11835169" y="1222588"/>
                  <a:pt x="11811000" y="1421167"/>
                </a:cubicBezTo>
                <a:cubicBezTo>
                  <a:pt x="11786831" y="1619746"/>
                  <a:pt x="11836963" y="1783304"/>
                  <a:pt x="11811000" y="2103368"/>
                </a:cubicBezTo>
                <a:cubicBezTo>
                  <a:pt x="11785037" y="2423432"/>
                  <a:pt x="11819469" y="2591811"/>
                  <a:pt x="11811000" y="2833323"/>
                </a:cubicBezTo>
                <a:cubicBezTo>
                  <a:pt x="11802531" y="3074836"/>
                  <a:pt x="11834929" y="3404871"/>
                  <a:pt x="11811000" y="3563278"/>
                </a:cubicBezTo>
                <a:cubicBezTo>
                  <a:pt x="11787071" y="3721686"/>
                  <a:pt x="11834340" y="3833776"/>
                  <a:pt x="11811000" y="4102217"/>
                </a:cubicBezTo>
                <a:cubicBezTo>
                  <a:pt x="11787660" y="4370658"/>
                  <a:pt x="11812341" y="4473231"/>
                  <a:pt x="11811000" y="4688910"/>
                </a:cubicBezTo>
                <a:cubicBezTo>
                  <a:pt x="11809659" y="4904589"/>
                  <a:pt x="11764118" y="5376416"/>
                  <a:pt x="11811000" y="5657636"/>
                </a:cubicBezTo>
                <a:cubicBezTo>
                  <a:pt x="11807944" y="6036464"/>
                  <a:pt x="11472693" y="6464941"/>
                  <a:pt x="10928772" y="6539864"/>
                </a:cubicBezTo>
                <a:cubicBezTo>
                  <a:pt x="10791597" y="6516300"/>
                  <a:pt x="10493029" y="6543084"/>
                  <a:pt x="10359468" y="6539864"/>
                </a:cubicBezTo>
                <a:cubicBezTo>
                  <a:pt x="10225907" y="6536644"/>
                  <a:pt x="10032365" y="6525165"/>
                  <a:pt x="9890629" y="6539864"/>
                </a:cubicBezTo>
                <a:cubicBezTo>
                  <a:pt x="9748893" y="6554563"/>
                  <a:pt x="9601990" y="6547460"/>
                  <a:pt x="9321325" y="6539864"/>
                </a:cubicBezTo>
                <a:cubicBezTo>
                  <a:pt x="9040660" y="6532268"/>
                  <a:pt x="9025726" y="6560992"/>
                  <a:pt x="8752021" y="6539864"/>
                </a:cubicBezTo>
                <a:cubicBezTo>
                  <a:pt x="8478316" y="6518736"/>
                  <a:pt x="8554419" y="6556400"/>
                  <a:pt x="8383648" y="6539864"/>
                </a:cubicBezTo>
                <a:cubicBezTo>
                  <a:pt x="8212877" y="6523328"/>
                  <a:pt x="8135258" y="6542414"/>
                  <a:pt x="8015274" y="6539864"/>
                </a:cubicBezTo>
                <a:cubicBezTo>
                  <a:pt x="7895290" y="6537314"/>
                  <a:pt x="7500086" y="6563986"/>
                  <a:pt x="7345505" y="6539864"/>
                </a:cubicBezTo>
                <a:cubicBezTo>
                  <a:pt x="7190924" y="6515742"/>
                  <a:pt x="6886842" y="6507041"/>
                  <a:pt x="6474804" y="6539864"/>
                </a:cubicBezTo>
                <a:cubicBezTo>
                  <a:pt x="6062766" y="6572687"/>
                  <a:pt x="5882262" y="6536702"/>
                  <a:pt x="5604104" y="6539864"/>
                </a:cubicBezTo>
                <a:cubicBezTo>
                  <a:pt x="5325946" y="6543026"/>
                  <a:pt x="5094625" y="6504313"/>
                  <a:pt x="4733403" y="6539864"/>
                </a:cubicBezTo>
                <a:cubicBezTo>
                  <a:pt x="4372181" y="6575415"/>
                  <a:pt x="4198803" y="6535410"/>
                  <a:pt x="3862703" y="6539864"/>
                </a:cubicBezTo>
                <a:cubicBezTo>
                  <a:pt x="3526603" y="6544318"/>
                  <a:pt x="3555632" y="6551167"/>
                  <a:pt x="3393864" y="6539864"/>
                </a:cubicBezTo>
                <a:cubicBezTo>
                  <a:pt x="3232096" y="6528561"/>
                  <a:pt x="3003000" y="6539881"/>
                  <a:pt x="2724094" y="6539864"/>
                </a:cubicBezTo>
                <a:cubicBezTo>
                  <a:pt x="2445188" y="6539848"/>
                  <a:pt x="2497891" y="6556333"/>
                  <a:pt x="2355721" y="6539864"/>
                </a:cubicBezTo>
                <a:cubicBezTo>
                  <a:pt x="2213551" y="6523395"/>
                  <a:pt x="1895696" y="6507860"/>
                  <a:pt x="1685952" y="6539864"/>
                </a:cubicBezTo>
                <a:cubicBezTo>
                  <a:pt x="1476208" y="6571868"/>
                  <a:pt x="1182684" y="6542852"/>
                  <a:pt x="882228" y="6539864"/>
                </a:cubicBezTo>
                <a:cubicBezTo>
                  <a:pt x="453095" y="6502463"/>
                  <a:pt x="-8158" y="6056301"/>
                  <a:pt x="0" y="5657636"/>
                </a:cubicBezTo>
                <a:cubicBezTo>
                  <a:pt x="-27560" y="5468267"/>
                  <a:pt x="-13679" y="5117682"/>
                  <a:pt x="0" y="4975435"/>
                </a:cubicBezTo>
                <a:cubicBezTo>
                  <a:pt x="13679" y="4833188"/>
                  <a:pt x="9671" y="4658998"/>
                  <a:pt x="0" y="4436496"/>
                </a:cubicBezTo>
                <a:cubicBezTo>
                  <a:pt x="-9671" y="4213994"/>
                  <a:pt x="26342" y="4022999"/>
                  <a:pt x="0" y="3658787"/>
                </a:cubicBezTo>
                <a:cubicBezTo>
                  <a:pt x="-26342" y="3294575"/>
                  <a:pt x="10296" y="3206042"/>
                  <a:pt x="0" y="3024340"/>
                </a:cubicBezTo>
                <a:cubicBezTo>
                  <a:pt x="-10296" y="2842638"/>
                  <a:pt x="-17705" y="2727579"/>
                  <a:pt x="0" y="2437647"/>
                </a:cubicBezTo>
                <a:cubicBezTo>
                  <a:pt x="17705" y="2147715"/>
                  <a:pt x="26992" y="2046243"/>
                  <a:pt x="0" y="1803200"/>
                </a:cubicBezTo>
                <a:cubicBezTo>
                  <a:pt x="-26992" y="1560157"/>
                  <a:pt x="17971" y="1159667"/>
                  <a:pt x="0" y="882228"/>
                </a:cubicBezTo>
                <a:close/>
              </a:path>
            </a:pathLst>
          </a:custGeom>
          <a:solidFill>
            <a:srgbClr val="FFFFFF">
              <a:alpha val="97647"/>
            </a:srgbClr>
          </a:solidFill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xmlns="" sd="1860289983">
                  <a:prstGeom prst="roundRect">
                    <a:avLst>
                      <a:gd name="adj" fmla="val 1349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#9Slide02 Noi dung da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825891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5" r:id="rId3"/>
    <p:sldLayoutId id="2147483667" r:id="rId4"/>
    <p:sldLayoutId id="2147483669" r:id="rId5"/>
    <p:sldLayoutId id="2147483670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4785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3000">
              <a:srgbClr val="78D3F8"/>
            </a:gs>
            <a:gs pos="0">
              <a:schemeClr val="bg1"/>
            </a:gs>
            <a:gs pos="100000">
              <a:srgbClr val="00B0F0"/>
            </a:gs>
          </a:gsLst>
          <a:lin ang="5400012" scaled="0"/>
          <a:tileRect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body" idx="1"/>
          </p:nvPr>
        </p:nvSpPr>
        <p:spPr>
          <a:xfrm>
            <a:off x="951767" y="1548033"/>
            <a:ext cx="10173600" cy="46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●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○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■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●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○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■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●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○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■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title"/>
          </p:nvPr>
        </p:nvSpPr>
        <p:spPr>
          <a:xfrm>
            <a:off x="1106700" y="303967"/>
            <a:ext cx="9371200" cy="6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190626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D0CE00B-B040-4546-AF5D-EEF96AA126B0}"/>
              </a:ext>
            </a:extLst>
          </p:cNvPr>
          <p:cNvGrpSpPr>
            <a:grpSpLocks noGrp="1" noSelect="1" noRot="1" noMove="1" noResize="1"/>
          </p:cNvGrpSpPr>
          <p:nvPr userDrawn="1">
            <p:custDataLst>
              <p:tags r:id="rId7"/>
            </p:custDataLst>
          </p:nvPr>
        </p:nvGrpSpPr>
        <p:grpSpPr>
          <a:xfrm>
            <a:off x="-2202100" y="-2224223"/>
            <a:ext cx="16596200" cy="11284323"/>
            <a:chOff x="-2202100" y="-2224223"/>
            <a:chExt cx="16596200" cy="1128432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A423BDB-6737-4700-9989-01683A4147DA}"/>
                </a:ext>
              </a:extLst>
            </p:cNvPr>
            <p:cNvSpPr/>
            <p:nvPr/>
          </p:nvSpPr>
          <p:spPr>
            <a:xfrm>
              <a:off x="4851540" y="8494776"/>
              <a:ext cx="2488920" cy="565324"/>
            </a:xfrm>
            <a:prstGeom prst="rect">
              <a:avLst/>
            </a:prstGeom>
            <a:noFill/>
            <a:ln w="2159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91E50D3-44ED-477F-84FB-1E24BC65ED8F}"/>
                </a:ext>
              </a:extLst>
            </p:cNvPr>
            <p:cNvSpPr txBox="1"/>
            <p:nvPr/>
          </p:nvSpPr>
          <p:spPr>
            <a:xfrm>
              <a:off x="5006988" y="8647176"/>
              <a:ext cx="2178025" cy="260524"/>
            </a:xfrm>
            <a:custGeom>
              <a:avLst/>
              <a:gdLst/>
              <a:ahLst/>
              <a:cxnLst/>
              <a:rect l="l" t="t" r="r" b="b"/>
              <a:pathLst>
                <a:path w="2178025" h="260524">
                  <a:moveTo>
                    <a:pt x="1807648" y="222182"/>
                  </a:moveTo>
                  <a:cubicBezTo>
                    <a:pt x="1814010" y="222182"/>
                    <a:pt x="1818838" y="223968"/>
                    <a:pt x="1822130" y="227540"/>
                  </a:cubicBezTo>
                  <a:cubicBezTo>
                    <a:pt x="1825423" y="231111"/>
                    <a:pt x="1827070" y="235576"/>
                    <a:pt x="1827070" y="240934"/>
                  </a:cubicBezTo>
                  <a:cubicBezTo>
                    <a:pt x="1827070" y="246069"/>
                    <a:pt x="1825423" y="250366"/>
                    <a:pt x="1822130" y="253826"/>
                  </a:cubicBezTo>
                  <a:cubicBezTo>
                    <a:pt x="1818838" y="257287"/>
                    <a:pt x="1814010" y="259017"/>
                    <a:pt x="1807648" y="259017"/>
                  </a:cubicBezTo>
                  <a:cubicBezTo>
                    <a:pt x="1801285" y="259017"/>
                    <a:pt x="1796513" y="257287"/>
                    <a:pt x="1793332" y="253826"/>
                  </a:cubicBezTo>
                  <a:cubicBezTo>
                    <a:pt x="1790151" y="250366"/>
                    <a:pt x="1788560" y="246069"/>
                    <a:pt x="1788560" y="240934"/>
                  </a:cubicBezTo>
                  <a:cubicBezTo>
                    <a:pt x="1788560" y="235576"/>
                    <a:pt x="1790151" y="231111"/>
                    <a:pt x="1793332" y="227540"/>
                  </a:cubicBezTo>
                  <a:cubicBezTo>
                    <a:pt x="1796513" y="223968"/>
                    <a:pt x="1801285" y="222182"/>
                    <a:pt x="1807648" y="222182"/>
                  </a:cubicBezTo>
                  <a:close/>
                  <a:moveTo>
                    <a:pt x="807523" y="222182"/>
                  </a:moveTo>
                  <a:cubicBezTo>
                    <a:pt x="813885" y="222182"/>
                    <a:pt x="818713" y="223968"/>
                    <a:pt x="822005" y="227540"/>
                  </a:cubicBezTo>
                  <a:cubicBezTo>
                    <a:pt x="825298" y="231111"/>
                    <a:pt x="826945" y="235576"/>
                    <a:pt x="826945" y="240934"/>
                  </a:cubicBezTo>
                  <a:cubicBezTo>
                    <a:pt x="826945" y="246069"/>
                    <a:pt x="825298" y="250366"/>
                    <a:pt x="822005" y="253826"/>
                  </a:cubicBezTo>
                  <a:cubicBezTo>
                    <a:pt x="818713" y="257287"/>
                    <a:pt x="813885" y="259017"/>
                    <a:pt x="807523" y="259017"/>
                  </a:cubicBezTo>
                  <a:cubicBezTo>
                    <a:pt x="801160" y="259017"/>
                    <a:pt x="796388" y="257287"/>
                    <a:pt x="793207" y="253826"/>
                  </a:cubicBezTo>
                  <a:cubicBezTo>
                    <a:pt x="790026" y="250366"/>
                    <a:pt x="788435" y="246069"/>
                    <a:pt x="788435" y="240934"/>
                  </a:cubicBezTo>
                  <a:cubicBezTo>
                    <a:pt x="788435" y="235576"/>
                    <a:pt x="790026" y="231111"/>
                    <a:pt x="793207" y="227540"/>
                  </a:cubicBezTo>
                  <a:cubicBezTo>
                    <a:pt x="796388" y="223968"/>
                    <a:pt x="801160" y="222182"/>
                    <a:pt x="807523" y="222182"/>
                  </a:cubicBezTo>
                  <a:close/>
                  <a:moveTo>
                    <a:pt x="1488076" y="98952"/>
                  </a:moveTo>
                  <a:cubicBezTo>
                    <a:pt x="1472896" y="98952"/>
                    <a:pt x="1461064" y="104812"/>
                    <a:pt x="1452581" y="116532"/>
                  </a:cubicBezTo>
                  <a:cubicBezTo>
                    <a:pt x="1444098" y="128253"/>
                    <a:pt x="1439856" y="145610"/>
                    <a:pt x="1439856" y="168604"/>
                  </a:cubicBezTo>
                  <a:cubicBezTo>
                    <a:pt x="1439856" y="189142"/>
                    <a:pt x="1444098" y="205215"/>
                    <a:pt x="1452581" y="216824"/>
                  </a:cubicBezTo>
                  <a:cubicBezTo>
                    <a:pt x="1461064" y="228433"/>
                    <a:pt x="1472784" y="234237"/>
                    <a:pt x="1487741" y="234237"/>
                  </a:cubicBezTo>
                  <a:cubicBezTo>
                    <a:pt x="1507387" y="234237"/>
                    <a:pt x="1521730" y="225419"/>
                    <a:pt x="1530771" y="207783"/>
                  </a:cubicBezTo>
                  <a:lnTo>
                    <a:pt x="1530771" y="124569"/>
                  </a:lnTo>
                  <a:cubicBezTo>
                    <a:pt x="1521507" y="107491"/>
                    <a:pt x="1507275" y="98952"/>
                    <a:pt x="1488076" y="98952"/>
                  </a:cubicBezTo>
                  <a:close/>
                  <a:moveTo>
                    <a:pt x="1678241" y="98115"/>
                  </a:moveTo>
                  <a:cubicBezTo>
                    <a:pt x="1665740" y="98115"/>
                    <a:pt x="1655248" y="102663"/>
                    <a:pt x="1646764" y="111761"/>
                  </a:cubicBezTo>
                  <a:cubicBezTo>
                    <a:pt x="1638281" y="120858"/>
                    <a:pt x="1633035" y="133610"/>
                    <a:pt x="1631026" y="150019"/>
                  </a:cubicBezTo>
                  <a:lnTo>
                    <a:pt x="1721774" y="150019"/>
                  </a:lnTo>
                  <a:lnTo>
                    <a:pt x="1721774" y="147675"/>
                  </a:lnTo>
                  <a:cubicBezTo>
                    <a:pt x="1720881" y="131936"/>
                    <a:pt x="1716639" y="119742"/>
                    <a:pt x="1709049" y="111091"/>
                  </a:cubicBezTo>
                  <a:cubicBezTo>
                    <a:pt x="1701459" y="102440"/>
                    <a:pt x="1691190" y="98115"/>
                    <a:pt x="1678241" y="98115"/>
                  </a:cubicBezTo>
                  <a:close/>
                  <a:moveTo>
                    <a:pt x="1855700" y="76014"/>
                  </a:moveTo>
                  <a:lnTo>
                    <a:pt x="1887345" y="76014"/>
                  </a:lnTo>
                  <a:lnTo>
                    <a:pt x="1933389" y="215150"/>
                  </a:lnTo>
                  <a:lnTo>
                    <a:pt x="1978260" y="76014"/>
                  </a:lnTo>
                  <a:lnTo>
                    <a:pt x="2009905" y="76014"/>
                  </a:lnTo>
                  <a:lnTo>
                    <a:pt x="1944941" y="257175"/>
                  </a:lnTo>
                  <a:lnTo>
                    <a:pt x="1921334" y="257175"/>
                  </a:lnTo>
                  <a:close/>
                  <a:moveTo>
                    <a:pt x="1333370" y="76014"/>
                  </a:moveTo>
                  <a:lnTo>
                    <a:pt x="1364344" y="76014"/>
                  </a:lnTo>
                  <a:lnTo>
                    <a:pt x="1364344" y="257175"/>
                  </a:lnTo>
                  <a:lnTo>
                    <a:pt x="1333370" y="257175"/>
                  </a:lnTo>
                  <a:close/>
                  <a:moveTo>
                    <a:pt x="514350" y="76014"/>
                  </a:moveTo>
                  <a:lnTo>
                    <a:pt x="545157" y="76014"/>
                  </a:lnTo>
                  <a:lnTo>
                    <a:pt x="580820" y="211634"/>
                  </a:lnTo>
                  <a:lnTo>
                    <a:pt x="623013" y="76014"/>
                  </a:lnTo>
                  <a:lnTo>
                    <a:pt x="647960" y="76014"/>
                  </a:lnTo>
                  <a:lnTo>
                    <a:pt x="690990" y="214480"/>
                  </a:lnTo>
                  <a:lnTo>
                    <a:pt x="725816" y="76014"/>
                  </a:lnTo>
                  <a:lnTo>
                    <a:pt x="756791" y="76014"/>
                  </a:lnTo>
                  <a:lnTo>
                    <a:pt x="704050" y="257175"/>
                  </a:lnTo>
                  <a:lnTo>
                    <a:pt x="678935" y="257175"/>
                  </a:lnTo>
                  <a:lnTo>
                    <a:pt x="634901" y="119881"/>
                  </a:lnTo>
                  <a:lnTo>
                    <a:pt x="592038" y="257175"/>
                  </a:lnTo>
                  <a:lnTo>
                    <a:pt x="566923" y="257175"/>
                  </a:lnTo>
                  <a:close/>
                  <a:moveTo>
                    <a:pt x="257175" y="76014"/>
                  </a:moveTo>
                  <a:lnTo>
                    <a:pt x="287982" y="76014"/>
                  </a:lnTo>
                  <a:lnTo>
                    <a:pt x="323645" y="211634"/>
                  </a:lnTo>
                  <a:lnTo>
                    <a:pt x="365838" y="76014"/>
                  </a:lnTo>
                  <a:lnTo>
                    <a:pt x="390785" y="76014"/>
                  </a:lnTo>
                  <a:lnTo>
                    <a:pt x="433815" y="214480"/>
                  </a:lnTo>
                  <a:lnTo>
                    <a:pt x="468641" y="76014"/>
                  </a:lnTo>
                  <a:lnTo>
                    <a:pt x="499616" y="76014"/>
                  </a:lnTo>
                  <a:lnTo>
                    <a:pt x="446875" y="257175"/>
                  </a:lnTo>
                  <a:lnTo>
                    <a:pt x="421760" y="257175"/>
                  </a:lnTo>
                  <a:lnTo>
                    <a:pt x="377726" y="119881"/>
                  </a:lnTo>
                  <a:lnTo>
                    <a:pt x="334863" y="257175"/>
                  </a:lnTo>
                  <a:lnTo>
                    <a:pt x="309748" y="257175"/>
                  </a:lnTo>
                  <a:close/>
                  <a:moveTo>
                    <a:pt x="0" y="76014"/>
                  </a:moveTo>
                  <a:lnTo>
                    <a:pt x="30807" y="76014"/>
                  </a:lnTo>
                  <a:lnTo>
                    <a:pt x="66470" y="211634"/>
                  </a:lnTo>
                  <a:lnTo>
                    <a:pt x="108663" y="76014"/>
                  </a:lnTo>
                  <a:lnTo>
                    <a:pt x="133610" y="76014"/>
                  </a:lnTo>
                  <a:lnTo>
                    <a:pt x="176640" y="214480"/>
                  </a:lnTo>
                  <a:lnTo>
                    <a:pt x="211466" y="76014"/>
                  </a:lnTo>
                  <a:lnTo>
                    <a:pt x="242441" y="76014"/>
                  </a:lnTo>
                  <a:lnTo>
                    <a:pt x="189700" y="257175"/>
                  </a:lnTo>
                  <a:lnTo>
                    <a:pt x="164585" y="257175"/>
                  </a:lnTo>
                  <a:lnTo>
                    <a:pt x="120551" y="119881"/>
                  </a:lnTo>
                  <a:lnTo>
                    <a:pt x="77688" y="257175"/>
                  </a:lnTo>
                  <a:lnTo>
                    <a:pt x="52573" y="257175"/>
                  </a:lnTo>
                  <a:close/>
                  <a:moveTo>
                    <a:pt x="2120094" y="72666"/>
                  </a:moveTo>
                  <a:cubicBezTo>
                    <a:pt x="2158380" y="72666"/>
                    <a:pt x="2177690" y="94264"/>
                    <a:pt x="2178025" y="137461"/>
                  </a:cubicBezTo>
                  <a:lnTo>
                    <a:pt x="2178025" y="257175"/>
                  </a:lnTo>
                  <a:lnTo>
                    <a:pt x="2147050" y="257175"/>
                  </a:lnTo>
                  <a:lnTo>
                    <a:pt x="2147050" y="137294"/>
                  </a:lnTo>
                  <a:cubicBezTo>
                    <a:pt x="2146938" y="124234"/>
                    <a:pt x="2143953" y="114579"/>
                    <a:pt x="2138092" y="108328"/>
                  </a:cubicBezTo>
                  <a:cubicBezTo>
                    <a:pt x="2132232" y="102077"/>
                    <a:pt x="2123107" y="98952"/>
                    <a:pt x="2110717" y="98952"/>
                  </a:cubicBezTo>
                  <a:cubicBezTo>
                    <a:pt x="2100671" y="98952"/>
                    <a:pt x="2091853" y="101631"/>
                    <a:pt x="2084263" y="106989"/>
                  </a:cubicBezTo>
                  <a:cubicBezTo>
                    <a:pt x="2076673" y="112347"/>
                    <a:pt x="2070757" y="119379"/>
                    <a:pt x="2066515" y="128085"/>
                  </a:cubicBezTo>
                  <a:lnTo>
                    <a:pt x="2066515" y="257175"/>
                  </a:lnTo>
                  <a:lnTo>
                    <a:pt x="2035541" y="257175"/>
                  </a:lnTo>
                  <a:lnTo>
                    <a:pt x="2035541" y="76014"/>
                  </a:lnTo>
                  <a:lnTo>
                    <a:pt x="2064841" y="76014"/>
                  </a:lnTo>
                  <a:lnTo>
                    <a:pt x="2065846" y="98785"/>
                  </a:lnTo>
                  <a:cubicBezTo>
                    <a:pt x="2079687" y="81372"/>
                    <a:pt x="2097769" y="72666"/>
                    <a:pt x="2120094" y="72666"/>
                  </a:cubicBezTo>
                  <a:close/>
                  <a:moveTo>
                    <a:pt x="1678241" y="72666"/>
                  </a:moveTo>
                  <a:cubicBezTo>
                    <a:pt x="1701794" y="72666"/>
                    <a:pt x="1720099" y="80423"/>
                    <a:pt x="1733159" y="95938"/>
                  </a:cubicBezTo>
                  <a:cubicBezTo>
                    <a:pt x="1746219" y="111454"/>
                    <a:pt x="1752749" y="133666"/>
                    <a:pt x="1752749" y="162576"/>
                  </a:cubicBezTo>
                  <a:lnTo>
                    <a:pt x="1752749" y="175468"/>
                  </a:lnTo>
                  <a:lnTo>
                    <a:pt x="1630021" y="175468"/>
                  </a:lnTo>
                  <a:cubicBezTo>
                    <a:pt x="1630468" y="193328"/>
                    <a:pt x="1635686" y="207755"/>
                    <a:pt x="1645676" y="218749"/>
                  </a:cubicBezTo>
                  <a:cubicBezTo>
                    <a:pt x="1655666" y="229744"/>
                    <a:pt x="1668363" y="235241"/>
                    <a:pt x="1683767" y="235241"/>
                  </a:cubicBezTo>
                  <a:cubicBezTo>
                    <a:pt x="1694706" y="235241"/>
                    <a:pt x="1703970" y="233009"/>
                    <a:pt x="1711560" y="228544"/>
                  </a:cubicBezTo>
                  <a:cubicBezTo>
                    <a:pt x="1719151" y="224079"/>
                    <a:pt x="1725792" y="218163"/>
                    <a:pt x="1731485" y="210796"/>
                  </a:cubicBezTo>
                  <a:lnTo>
                    <a:pt x="1750405" y="225530"/>
                  </a:lnTo>
                  <a:cubicBezTo>
                    <a:pt x="1735224" y="248859"/>
                    <a:pt x="1712453" y="260524"/>
                    <a:pt x="1682092" y="260524"/>
                  </a:cubicBezTo>
                  <a:cubicBezTo>
                    <a:pt x="1657536" y="260524"/>
                    <a:pt x="1637556" y="252459"/>
                    <a:pt x="1622152" y="236330"/>
                  </a:cubicBezTo>
                  <a:cubicBezTo>
                    <a:pt x="1606748" y="220201"/>
                    <a:pt x="1599046" y="198630"/>
                    <a:pt x="1599046" y="171617"/>
                  </a:cubicBezTo>
                  <a:lnTo>
                    <a:pt x="1599046" y="165925"/>
                  </a:lnTo>
                  <a:cubicBezTo>
                    <a:pt x="1599046" y="147954"/>
                    <a:pt x="1602479" y="131908"/>
                    <a:pt x="1609343" y="117788"/>
                  </a:cubicBezTo>
                  <a:cubicBezTo>
                    <a:pt x="1616208" y="103668"/>
                    <a:pt x="1625807" y="92618"/>
                    <a:pt x="1638142" y="84637"/>
                  </a:cubicBezTo>
                  <a:cubicBezTo>
                    <a:pt x="1650476" y="76656"/>
                    <a:pt x="1663842" y="72666"/>
                    <a:pt x="1678241" y="72666"/>
                  </a:cubicBezTo>
                  <a:close/>
                  <a:moveTo>
                    <a:pt x="1129624" y="72666"/>
                  </a:moveTo>
                  <a:cubicBezTo>
                    <a:pt x="1150162" y="72666"/>
                    <a:pt x="1166822" y="77968"/>
                    <a:pt x="1179602" y="88572"/>
                  </a:cubicBezTo>
                  <a:cubicBezTo>
                    <a:pt x="1192383" y="99175"/>
                    <a:pt x="1198773" y="112737"/>
                    <a:pt x="1198773" y="129257"/>
                  </a:cubicBezTo>
                  <a:lnTo>
                    <a:pt x="1167631" y="129257"/>
                  </a:lnTo>
                  <a:cubicBezTo>
                    <a:pt x="1167631" y="120774"/>
                    <a:pt x="1164031" y="113463"/>
                    <a:pt x="1156831" y="107324"/>
                  </a:cubicBezTo>
                  <a:cubicBezTo>
                    <a:pt x="1149632" y="101185"/>
                    <a:pt x="1140563" y="98115"/>
                    <a:pt x="1129624" y="98115"/>
                  </a:cubicBezTo>
                  <a:cubicBezTo>
                    <a:pt x="1118350" y="98115"/>
                    <a:pt x="1109532" y="100571"/>
                    <a:pt x="1103170" y="105482"/>
                  </a:cubicBezTo>
                  <a:cubicBezTo>
                    <a:pt x="1096807" y="110393"/>
                    <a:pt x="1093626" y="116811"/>
                    <a:pt x="1093626" y="124737"/>
                  </a:cubicBezTo>
                  <a:cubicBezTo>
                    <a:pt x="1093626" y="132215"/>
                    <a:pt x="1096584" y="137852"/>
                    <a:pt x="1102500" y="141647"/>
                  </a:cubicBezTo>
                  <a:cubicBezTo>
                    <a:pt x="1108416" y="145442"/>
                    <a:pt x="1119104" y="149070"/>
                    <a:pt x="1134563" y="152530"/>
                  </a:cubicBezTo>
                  <a:cubicBezTo>
                    <a:pt x="1150023" y="155990"/>
                    <a:pt x="1162552" y="160120"/>
                    <a:pt x="1172151" y="164920"/>
                  </a:cubicBezTo>
                  <a:cubicBezTo>
                    <a:pt x="1181751" y="169720"/>
                    <a:pt x="1188867" y="175496"/>
                    <a:pt x="1193499" y="182249"/>
                  </a:cubicBezTo>
                  <a:cubicBezTo>
                    <a:pt x="1198131" y="189002"/>
                    <a:pt x="1200447" y="197234"/>
                    <a:pt x="1200447" y="206945"/>
                  </a:cubicBezTo>
                  <a:cubicBezTo>
                    <a:pt x="1200447" y="223131"/>
                    <a:pt x="1193973" y="236107"/>
                    <a:pt x="1181025" y="245873"/>
                  </a:cubicBezTo>
                  <a:cubicBezTo>
                    <a:pt x="1168077" y="255640"/>
                    <a:pt x="1151278" y="260524"/>
                    <a:pt x="1130628" y="260524"/>
                  </a:cubicBezTo>
                  <a:cubicBezTo>
                    <a:pt x="1116118" y="260524"/>
                    <a:pt x="1103281" y="257956"/>
                    <a:pt x="1092119" y="252822"/>
                  </a:cubicBezTo>
                  <a:cubicBezTo>
                    <a:pt x="1080957" y="247687"/>
                    <a:pt x="1072223" y="240516"/>
                    <a:pt x="1065916" y="231307"/>
                  </a:cubicBezTo>
                  <a:cubicBezTo>
                    <a:pt x="1059610" y="222098"/>
                    <a:pt x="1056456" y="212136"/>
                    <a:pt x="1056456" y="201420"/>
                  </a:cubicBezTo>
                  <a:lnTo>
                    <a:pt x="1087431" y="201420"/>
                  </a:lnTo>
                  <a:cubicBezTo>
                    <a:pt x="1087989" y="211801"/>
                    <a:pt x="1092147" y="220033"/>
                    <a:pt x="1099905" y="226116"/>
                  </a:cubicBezTo>
                  <a:cubicBezTo>
                    <a:pt x="1107662" y="232200"/>
                    <a:pt x="1117904" y="235241"/>
                    <a:pt x="1130628" y="235241"/>
                  </a:cubicBezTo>
                  <a:cubicBezTo>
                    <a:pt x="1142349" y="235241"/>
                    <a:pt x="1151753" y="232869"/>
                    <a:pt x="1158841" y="228126"/>
                  </a:cubicBezTo>
                  <a:cubicBezTo>
                    <a:pt x="1165929" y="223382"/>
                    <a:pt x="1169473" y="217047"/>
                    <a:pt x="1169473" y="209122"/>
                  </a:cubicBezTo>
                  <a:cubicBezTo>
                    <a:pt x="1169473" y="200751"/>
                    <a:pt x="1166319" y="194249"/>
                    <a:pt x="1160013" y="189616"/>
                  </a:cubicBezTo>
                  <a:cubicBezTo>
                    <a:pt x="1153706" y="184984"/>
                    <a:pt x="1142711" y="180994"/>
                    <a:pt x="1127029" y="177645"/>
                  </a:cubicBezTo>
                  <a:cubicBezTo>
                    <a:pt x="1111346" y="174296"/>
                    <a:pt x="1098900" y="170278"/>
                    <a:pt x="1089691" y="165590"/>
                  </a:cubicBezTo>
                  <a:cubicBezTo>
                    <a:pt x="1080483" y="160902"/>
                    <a:pt x="1073674" y="155321"/>
                    <a:pt x="1069265" y="148847"/>
                  </a:cubicBezTo>
                  <a:cubicBezTo>
                    <a:pt x="1064856" y="142373"/>
                    <a:pt x="1062651" y="134671"/>
                    <a:pt x="1062651" y="125741"/>
                  </a:cubicBezTo>
                  <a:cubicBezTo>
                    <a:pt x="1062651" y="110896"/>
                    <a:pt x="1068930" y="98338"/>
                    <a:pt x="1081487" y="88069"/>
                  </a:cubicBezTo>
                  <a:cubicBezTo>
                    <a:pt x="1094045" y="77800"/>
                    <a:pt x="1110090" y="72666"/>
                    <a:pt x="1129624" y="72666"/>
                  </a:cubicBezTo>
                  <a:close/>
                  <a:moveTo>
                    <a:pt x="942472" y="35831"/>
                  </a:moveTo>
                  <a:cubicBezTo>
                    <a:pt x="928855" y="35831"/>
                    <a:pt x="917916" y="41049"/>
                    <a:pt x="909656" y="51485"/>
                  </a:cubicBezTo>
                  <a:cubicBezTo>
                    <a:pt x="901396" y="61922"/>
                    <a:pt x="897266" y="75679"/>
                    <a:pt x="897266" y="92757"/>
                  </a:cubicBezTo>
                  <a:cubicBezTo>
                    <a:pt x="897266" y="109389"/>
                    <a:pt x="901256" y="123090"/>
                    <a:pt x="909237" y="133862"/>
                  </a:cubicBezTo>
                  <a:cubicBezTo>
                    <a:pt x="917218" y="144633"/>
                    <a:pt x="927906" y="150019"/>
                    <a:pt x="941300" y="150019"/>
                  </a:cubicBezTo>
                  <a:cubicBezTo>
                    <a:pt x="951681" y="150019"/>
                    <a:pt x="961253" y="146838"/>
                    <a:pt x="970015" y="140475"/>
                  </a:cubicBezTo>
                  <a:cubicBezTo>
                    <a:pt x="978777" y="134113"/>
                    <a:pt x="985168" y="126243"/>
                    <a:pt x="989186" y="116867"/>
                  </a:cubicBezTo>
                  <a:lnTo>
                    <a:pt x="989186" y="104477"/>
                  </a:lnTo>
                  <a:cubicBezTo>
                    <a:pt x="989186" y="84163"/>
                    <a:pt x="984777" y="67643"/>
                    <a:pt x="975959" y="54918"/>
                  </a:cubicBezTo>
                  <a:cubicBezTo>
                    <a:pt x="967141" y="42193"/>
                    <a:pt x="955979" y="35831"/>
                    <a:pt x="942472" y="35831"/>
                  </a:cubicBezTo>
                  <a:close/>
                  <a:moveTo>
                    <a:pt x="1349108" y="10046"/>
                  </a:moveTo>
                  <a:cubicBezTo>
                    <a:pt x="1355136" y="10046"/>
                    <a:pt x="1359712" y="11776"/>
                    <a:pt x="1362837" y="15237"/>
                  </a:cubicBezTo>
                  <a:cubicBezTo>
                    <a:pt x="1365963" y="18697"/>
                    <a:pt x="1367526" y="22938"/>
                    <a:pt x="1367526" y="27961"/>
                  </a:cubicBezTo>
                  <a:cubicBezTo>
                    <a:pt x="1367526" y="32984"/>
                    <a:pt x="1365963" y="37170"/>
                    <a:pt x="1362837" y="40519"/>
                  </a:cubicBezTo>
                  <a:cubicBezTo>
                    <a:pt x="1359712" y="43867"/>
                    <a:pt x="1355136" y="45542"/>
                    <a:pt x="1349108" y="45542"/>
                  </a:cubicBezTo>
                  <a:cubicBezTo>
                    <a:pt x="1343081" y="45542"/>
                    <a:pt x="1338532" y="43867"/>
                    <a:pt x="1335462" y="40519"/>
                  </a:cubicBezTo>
                  <a:cubicBezTo>
                    <a:pt x="1332393" y="37170"/>
                    <a:pt x="1330858" y="32984"/>
                    <a:pt x="1330858" y="27961"/>
                  </a:cubicBezTo>
                  <a:cubicBezTo>
                    <a:pt x="1330858" y="22938"/>
                    <a:pt x="1332393" y="18697"/>
                    <a:pt x="1335462" y="15237"/>
                  </a:cubicBezTo>
                  <a:cubicBezTo>
                    <a:pt x="1338532" y="11776"/>
                    <a:pt x="1343081" y="10046"/>
                    <a:pt x="1349108" y="10046"/>
                  </a:cubicBezTo>
                  <a:close/>
                  <a:moveTo>
                    <a:pt x="942305" y="10046"/>
                  </a:moveTo>
                  <a:cubicBezTo>
                    <a:pt x="966415" y="10046"/>
                    <a:pt x="985419" y="19060"/>
                    <a:pt x="999316" y="37086"/>
                  </a:cubicBezTo>
                  <a:cubicBezTo>
                    <a:pt x="1013212" y="55113"/>
                    <a:pt x="1020161" y="79698"/>
                    <a:pt x="1020161" y="110840"/>
                  </a:cubicBezTo>
                  <a:lnTo>
                    <a:pt x="1020161" y="119881"/>
                  </a:lnTo>
                  <a:cubicBezTo>
                    <a:pt x="1020161" y="167320"/>
                    <a:pt x="1010785" y="201950"/>
                    <a:pt x="992032" y="223772"/>
                  </a:cubicBezTo>
                  <a:cubicBezTo>
                    <a:pt x="973280" y="245594"/>
                    <a:pt x="944984" y="256784"/>
                    <a:pt x="907144" y="257342"/>
                  </a:cubicBezTo>
                  <a:lnTo>
                    <a:pt x="901117" y="257342"/>
                  </a:lnTo>
                  <a:lnTo>
                    <a:pt x="901117" y="231056"/>
                  </a:lnTo>
                  <a:lnTo>
                    <a:pt x="907647" y="231056"/>
                  </a:lnTo>
                  <a:cubicBezTo>
                    <a:pt x="933208" y="230611"/>
                    <a:pt x="952853" y="223956"/>
                    <a:pt x="966583" y="211089"/>
                  </a:cubicBezTo>
                  <a:cubicBezTo>
                    <a:pt x="980312" y="198223"/>
                    <a:pt x="987791" y="177866"/>
                    <a:pt x="989018" y="150019"/>
                  </a:cubicBezTo>
                  <a:cubicBezTo>
                    <a:pt x="982545" y="157721"/>
                    <a:pt x="974815" y="163916"/>
                    <a:pt x="965829" y="168604"/>
                  </a:cubicBezTo>
                  <a:cubicBezTo>
                    <a:pt x="956844" y="173292"/>
                    <a:pt x="946993" y="175636"/>
                    <a:pt x="936278" y="175636"/>
                  </a:cubicBezTo>
                  <a:cubicBezTo>
                    <a:pt x="922213" y="175636"/>
                    <a:pt x="909963" y="172176"/>
                    <a:pt x="899526" y="165255"/>
                  </a:cubicBezTo>
                  <a:cubicBezTo>
                    <a:pt x="889090" y="158335"/>
                    <a:pt x="881025" y="148596"/>
                    <a:pt x="875332" y="136038"/>
                  </a:cubicBezTo>
                  <a:cubicBezTo>
                    <a:pt x="869640" y="123481"/>
                    <a:pt x="866793" y="109612"/>
                    <a:pt x="866793" y="94431"/>
                  </a:cubicBezTo>
                  <a:cubicBezTo>
                    <a:pt x="866793" y="78135"/>
                    <a:pt x="869891" y="63457"/>
                    <a:pt x="876086" y="50397"/>
                  </a:cubicBezTo>
                  <a:cubicBezTo>
                    <a:pt x="882281" y="37338"/>
                    <a:pt x="891071" y="27347"/>
                    <a:pt x="902456" y="20427"/>
                  </a:cubicBezTo>
                  <a:cubicBezTo>
                    <a:pt x="913842" y="13506"/>
                    <a:pt x="927125" y="10046"/>
                    <a:pt x="942305" y="10046"/>
                  </a:cubicBezTo>
                  <a:close/>
                  <a:moveTo>
                    <a:pt x="1530771" y="0"/>
                  </a:moveTo>
                  <a:lnTo>
                    <a:pt x="1561746" y="0"/>
                  </a:lnTo>
                  <a:lnTo>
                    <a:pt x="1561746" y="257175"/>
                  </a:lnTo>
                  <a:lnTo>
                    <a:pt x="1533283" y="257175"/>
                  </a:lnTo>
                  <a:lnTo>
                    <a:pt x="1531776" y="237753"/>
                  </a:lnTo>
                  <a:cubicBezTo>
                    <a:pt x="1519386" y="252933"/>
                    <a:pt x="1502141" y="260524"/>
                    <a:pt x="1480040" y="260524"/>
                  </a:cubicBezTo>
                  <a:cubicBezTo>
                    <a:pt x="1459055" y="260524"/>
                    <a:pt x="1441949" y="251929"/>
                    <a:pt x="1428722" y="234739"/>
                  </a:cubicBezTo>
                  <a:cubicBezTo>
                    <a:pt x="1415495" y="217549"/>
                    <a:pt x="1408881" y="195114"/>
                    <a:pt x="1408881" y="167432"/>
                  </a:cubicBezTo>
                  <a:lnTo>
                    <a:pt x="1408881" y="165088"/>
                  </a:lnTo>
                  <a:cubicBezTo>
                    <a:pt x="1408881" y="137294"/>
                    <a:pt x="1415467" y="114942"/>
                    <a:pt x="1428638" y="98031"/>
                  </a:cubicBezTo>
                  <a:cubicBezTo>
                    <a:pt x="1441809" y="81121"/>
                    <a:pt x="1459055" y="72666"/>
                    <a:pt x="1480375" y="72666"/>
                  </a:cubicBezTo>
                  <a:cubicBezTo>
                    <a:pt x="1501583" y="72666"/>
                    <a:pt x="1518381" y="79921"/>
                    <a:pt x="1530771" y="94431"/>
                  </a:cubicBezTo>
                  <a:close/>
                  <a:moveTo>
                    <a:pt x="1247645" y="0"/>
                  </a:moveTo>
                  <a:lnTo>
                    <a:pt x="1278619" y="0"/>
                  </a:lnTo>
                  <a:lnTo>
                    <a:pt x="1278619" y="257175"/>
                  </a:lnTo>
                  <a:lnTo>
                    <a:pt x="1247645" y="25717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2700">
                <a:solidFill>
                  <a:schemeClr val="bg1">
                    <a:lumMod val="75000"/>
                  </a:schemeClr>
                </a:solidFill>
                <a:latin typeface="#9Slide02 Noi dung dai" panose="02000000000000000000" pitchFamily="2" charset="0"/>
                <a:ea typeface="#9Slide02 Noi dung dai" panose="02000000000000000000" pitchFamily="2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2465F73-4B27-4C0F-9B02-510C8E083EB6}"/>
                </a:ext>
              </a:extLst>
            </p:cNvPr>
            <p:cNvSpPr/>
            <p:nvPr/>
          </p:nvSpPr>
          <p:spPr>
            <a:xfrm>
              <a:off x="-2202100" y="-2224223"/>
              <a:ext cx="16596200" cy="112843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0" name="9Slide.vn">
            <a:extLst>
              <a:ext uri="{FF2B5EF4-FFF2-40B4-BE49-F238E27FC236}">
                <a16:creationId xmlns:a16="http://schemas.microsoft.com/office/drawing/2014/main" id="{0F30810D-0BA7-48B5-9100-E09C5C296021}"/>
              </a:ext>
            </a:extLst>
          </p:cNvPr>
          <p:cNvSpPr>
            <a:spLocks noSelect="1"/>
          </p:cNvSpPr>
          <p:nvPr userDrawn="1">
            <p:custDataLst>
              <p:tags r:id="rId8"/>
            </p:custDataLst>
          </p:nvPr>
        </p:nvSpPr>
        <p:spPr>
          <a:xfrm>
            <a:off x="6091428" y="-8915400"/>
            <a:ext cx="9144" cy="914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9Slide.vn">
            <a:extLst>
              <a:ext uri="{FF2B5EF4-FFF2-40B4-BE49-F238E27FC236}">
                <a16:creationId xmlns:a16="http://schemas.microsoft.com/office/drawing/2014/main" id="{5703AF2A-1D5F-4BD2-8904-9B6C863CB9B3}"/>
              </a:ext>
            </a:extLst>
          </p:cNvPr>
          <p:cNvSpPr>
            <a:spLocks noSelect="1"/>
          </p:cNvSpPr>
          <p:nvPr userDrawn="1">
            <p:custDataLst>
              <p:tags r:id="rId9"/>
            </p:custDataLst>
          </p:nvPr>
        </p:nvSpPr>
        <p:spPr>
          <a:xfrm>
            <a:off x="6091428" y="15764256"/>
            <a:ext cx="9144" cy="914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round pink circle with white text and a black background&#10;&#10;AI-generated content may be incorrect.">
            <a:extLst>
              <a:ext uri="{FF2B5EF4-FFF2-40B4-BE49-F238E27FC236}">
                <a16:creationId xmlns:a16="http://schemas.microsoft.com/office/drawing/2014/main" id="{338A3BCA-770B-EB22-E146-CE1DECCAED8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15663" y="175688"/>
            <a:ext cx="1505967" cy="150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805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7.png"/><Relationship Id="rId7" Type="http://schemas.openxmlformats.org/officeDocument/2006/relationships/slide" Target="slide4.xml"/><Relationship Id="rId2" Type="http://schemas.openxmlformats.org/officeDocument/2006/relationships/audio" Target="../media/audio3.wav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20.png"/><Relationship Id="rId10" Type="http://schemas.openxmlformats.org/officeDocument/2006/relationships/image" Target="../media/image52.png"/><Relationship Id="rId4" Type="http://schemas.openxmlformats.org/officeDocument/2006/relationships/image" Target="../media/image9.png"/><Relationship Id="rId9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7.png"/><Relationship Id="rId7" Type="http://schemas.openxmlformats.org/officeDocument/2006/relationships/slide" Target="slide4.xml"/><Relationship Id="rId2" Type="http://schemas.openxmlformats.org/officeDocument/2006/relationships/audio" Target="../media/audio3.wav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20.png"/><Relationship Id="rId10" Type="http://schemas.openxmlformats.org/officeDocument/2006/relationships/image" Target="../media/image53.png"/><Relationship Id="rId4" Type="http://schemas.openxmlformats.org/officeDocument/2006/relationships/image" Target="../media/image9.png"/><Relationship Id="rId9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7.png"/><Relationship Id="rId7" Type="http://schemas.openxmlformats.org/officeDocument/2006/relationships/slide" Target="slide4.xml"/><Relationship Id="rId2" Type="http://schemas.openxmlformats.org/officeDocument/2006/relationships/audio" Target="../media/audio3.wav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20.png"/><Relationship Id="rId10" Type="http://schemas.openxmlformats.org/officeDocument/2006/relationships/image" Target="../media/image54.png"/><Relationship Id="rId4" Type="http://schemas.openxmlformats.org/officeDocument/2006/relationships/image" Target="../media/image9.png"/><Relationship Id="rId9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6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gif"/><Relationship Id="rId13" Type="http://schemas.openxmlformats.org/officeDocument/2006/relationships/image" Target="../media/image16.png"/><Relationship Id="rId18" Type="http://schemas.openxmlformats.org/officeDocument/2006/relationships/image" Target="../media/image20.png"/><Relationship Id="rId26" Type="http://schemas.openxmlformats.org/officeDocument/2006/relationships/image" Target="../media/image25.png"/><Relationship Id="rId3" Type="http://schemas.openxmlformats.org/officeDocument/2006/relationships/image" Target="../media/image8.png"/><Relationship Id="rId21" Type="http://schemas.openxmlformats.org/officeDocument/2006/relationships/image" Target="../media/image22.png"/><Relationship Id="rId7" Type="http://schemas.microsoft.com/office/2007/relationships/hdphoto" Target="../media/hdphoto2.wdp"/><Relationship Id="rId12" Type="http://schemas.openxmlformats.org/officeDocument/2006/relationships/image" Target="../media/image15.png"/><Relationship Id="rId17" Type="http://schemas.openxmlformats.org/officeDocument/2006/relationships/image" Target="../media/image19.png"/><Relationship Id="rId25" Type="http://schemas.openxmlformats.org/officeDocument/2006/relationships/image" Target="../media/image24.png"/><Relationship Id="rId2" Type="http://schemas.openxmlformats.org/officeDocument/2006/relationships/image" Target="../media/image7.png"/><Relationship Id="rId16" Type="http://schemas.openxmlformats.org/officeDocument/2006/relationships/image" Target="../media/image18.png"/><Relationship Id="rId20" Type="http://schemas.microsoft.com/office/2007/relationships/hdphoto" Target="../media/hdphoto5.wdp"/><Relationship Id="rId29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11" Type="http://schemas.openxmlformats.org/officeDocument/2006/relationships/image" Target="../media/image14.png"/><Relationship Id="rId24" Type="http://schemas.microsoft.com/office/2007/relationships/hdphoto" Target="../media/hdphoto7.wdp"/><Relationship Id="rId5" Type="http://schemas.openxmlformats.org/officeDocument/2006/relationships/image" Target="../media/image10.emf"/><Relationship Id="rId15" Type="http://schemas.microsoft.com/office/2007/relationships/hdphoto" Target="../media/hdphoto4.wdp"/><Relationship Id="rId23" Type="http://schemas.openxmlformats.org/officeDocument/2006/relationships/image" Target="../media/image23.png"/><Relationship Id="rId28" Type="http://schemas.openxmlformats.org/officeDocument/2006/relationships/image" Target="../media/image27.png"/><Relationship Id="rId10" Type="http://schemas.microsoft.com/office/2007/relationships/hdphoto" Target="../media/hdphoto3.wdp"/><Relationship Id="rId19" Type="http://schemas.openxmlformats.org/officeDocument/2006/relationships/image" Target="../media/image21.png"/><Relationship Id="rId31" Type="http://schemas.openxmlformats.org/officeDocument/2006/relationships/image" Target="../media/image30.png"/><Relationship Id="rId4" Type="http://schemas.openxmlformats.org/officeDocument/2006/relationships/image" Target="../media/image9.png"/><Relationship Id="rId9" Type="http://schemas.openxmlformats.org/officeDocument/2006/relationships/image" Target="../media/image13.png"/><Relationship Id="rId14" Type="http://schemas.openxmlformats.org/officeDocument/2006/relationships/image" Target="../media/image17.png"/><Relationship Id="rId22" Type="http://schemas.microsoft.com/office/2007/relationships/hdphoto" Target="../media/hdphoto6.wdp"/><Relationship Id="rId27" Type="http://schemas.openxmlformats.org/officeDocument/2006/relationships/image" Target="../media/image26.png"/><Relationship Id="rId30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31.png"/><Relationship Id="rId26" Type="http://schemas.openxmlformats.org/officeDocument/2006/relationships/image" Target="../media/image22.png"/><Relationship Id="rId39" Type="http://schemas.openxmlformats.org/officeDocument/2006/relationships/image" Target="../media/image35.png"/><Relationship Id="rId3" Type="http://schemas.openxmlformats.org/officeDocument/2006/relationships/audio" Target="../media/audio2.wav"/><Relationship Id="rId21" Type="http://schemas.openxmlformats.org/officeDocument/2006/relationships/image" Target="../media/image32.jpeg"/><Relationship Id="rId34" Type="http://schemas.openxmlformats.org/officeDocument/2006/relationships/image" Target="../media/image28.png"/><Relationship Id="rId42" Type="http://schemas.openxmlformats.org/officeDocument/2006/relationships/slide" Target="slide8.xml"/><Relationship Id="rId47" Type="http://schemas.openxmlformats.org/officeDocument/2006/relationships/image" Target="../media/image39.png"/><Relationship Id="rId50" Type="http://schemas.openxmlformats.org/officeDocument/2006/relationships/slide" Target="slide12.xml"/><Relationship Id="rId7" Type="http://schemas.openxmlformats.org/officeDocument/2006/relationships/image" Target="../media/image10.emf"/><Relationship Id="rId12" Type="http://schemas.microsoft.com/office/2007/relationships/hdphoto" Target="../media/hdphoto3.wdp"/><Relationship Id="rId17" Type="http://schemas.microsoft.com/office/2007/relationships/hdphoto" Target="../media/hdphoto4.wdp"/><Relationship Id="rId25" Type="http://schemas.microsoft.com/office/2007/relationships/hdphoto" Target="../media/hdphoto5.wdp"/><Relationship Id="rId33" Type="http://schemas.openxmlformats.org/officeDocument/2006/relationships/image" Target="../media/image27.png"/><Relationship Id="rId38" Type="http://schemas.openxmlformats.org/officeDocument/2006/relationships/slide" Target="slide6.xml"/><Relationship Id="rId46" Type="http://schemas.openxmlformats.org/officeDocument/2006/relationships/slide" Target="slide10.xml"/><Relationship Id="rId2" Type="http://schemas.openxmlformats.org/officeDocument/2006/relationships/audio" Target="../media/audio1.wav"/><Relationship Id="rId16" Type="http://schemas.openxmlformats.org/officeDocument/2006/relationships/image" Target="../media/image17.png"/><Relationship Id="rId20" Type="http://schemas.openxmlformats.org/officeDocument/2006/relationships/image" Target="../media/image19.png"/><Relationship Id="rId29" Type="http://schemas.microsoft.com/office/2007/relationships/hdphoto" Target="../media/hdphoto7.wdp"/><Relationship Id="rId41" Type="http://schemas.openxmlformats.org/officeDocument/2006/relationships/image" Target="../media/image36.png"/><Relationship Id="rId54" Type="http://schemas.openxmlformats.org/officeDocument/2006/relationships/slide" Target="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11" Type="http://schemas.openxmlformats.org/officeDocument/2006/relationships/image" Target="../media/image13.png"/><Relationship Id="rId24" Type="http://schemas.openxmlformats.org/officeDocument/2006/relationships/image" Target="../media/image21.png"/><Relationship Id="rId32" Type="http://schemas.openxmlformats.org/officeDocument/2006/relationships/image" Target="../media/image26.png"/><Relationship Id="rId37" Type="http://schemas.openxmlformats.org/officeDocument/2006/relationships/image" Target="../media/image34.png"/><Relationship Id="rId40" Type="http://schemas.openxmlformats.org/officeDocument/2006/relationships/slide" Target="slide7.xml"/><Relationship Id="rId45" Type="http://schemas.openxmlformats.org/officeDocument/2006/relationships/image" Target="../media/image38.png"/><Relationship Id="rId53" Type="http://schemas.openxmlformats.org/officeDocument/2006/relationships/image" Target="../media/image43.png"/><Relationship Id="rId5" Type="http://schemas.openxmlformats.org/officeDocument/2006/relationships/image" Target="../media/image8.png"/><Relationship Id="rId15" Type="http://schemas.openxmlformats.org/officeDocument/2006/relationships/image" Target="../media/image16.png"/><Relationship Id="rId23" Type="http://schemas.openxmlformats.org/officeDocument/2006/relationships/image" Target="../media/image20.png"/><Relationship Id="rId28" Type="http://schemas.openxmlformats.org/officeDocument/2006/relationships/image" Target="../media/image23.png"/><Relationship Id="rId36" Type="http://schemas.openxmlformats.org/officeDocument/2006/relationships/slide" Target="slide5.xml"/><Relationship Id="rId49" Type="http://schemas.openxmlformats.org/officeDocument/2006/relationships/image" Target="../media/image40.png"/><Relationship Id="rId10" Type="http://schemas.openxmlformats.org/officeDocument/2006/relationships/image" Target="../media/image12.gif"/><Relationship Id="rId19" Type="http://schemas.openxmlformats.org/officeDocument/2006/relationships/image" Target="../media/image18.png"/><Relationship Id="rId31" Type="http://schemas.openxmlformats.org/officeDocument/2006/relationships/image" Target="../media/image25.png"/><Relationship Id="rId44" Type="http://schemas.openxmlformats.org/officeDocument/2006/relationships/slide" Target="slide9.xml"/><Relationship Id="rId52" Type="http://schemas.openxmlformats.org/officeDocument/2006/relationships/image" Target="../media/image42.gif"/><Relationship Id="rId4" Type="http://schemas.openxmlformats.org/officeDocument/2006/relationships/image" Target="../media/image7.png"/><Relationship Id="rId9" Type="http://schemas.microsoft.com/office/2007/relationships/hdphoto" Target="../media/hdphoto2.wdp"/><Relationship Id="rId14" Type="http://schemas.openxmlformats.org/officeDocument/2006/relationships/image" Target="../media/image15.png"/><Relationship Id="rId22" Type="http://schemas.openxmlformats.org/officeDocument/2006/relationships/image" Target="../media/image33.jpeg"/><Relationship Id="rId27" Type="http://schemas.microsoft.com/office/2007/relationships/hdphoto" Target="../media/hdphoto6.wdp"/><Relationship Id="rId30" Type="http://schemas.openxmlformats.org/officeDocument/2006/relationships/image" Target="../media/image24.png"/><Relationship Id="rId35" Type="http://schemas.openxmlformats.org/officeDocument/2006/relationships/image" Target="../media/image29.png"/><Relationship Id="rId43" Type="http://schemas.openxmlformats.org/officeDocument/2006/relationships/image" Target="../media/image37.png"/><Relationship Id="rId48" Type="http://schemas.openxmlformats.org/officeDocument/2006/relationships/slide" Target="slide11.xml"/><Relationship Id="rId8" Type="http://schemas.openxmlformats.org/officeDocument/2006/relationships/image" Target="../media/image11.png"/><Relationship Id="rId51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7.png"/><Relationship Id="rId7" Type="http://schemas.openxmlformats.org/officeDocument/2006/relationships/slide" Target="slide4.xml"/><Relationship Id="rId2" Type="http://schemas.openxmlformats.org/officeDocument/2006/relationships/audio" Target="../media/audio3.wav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20.png"/><Relationship Id="rId10" Type="http://schemas.openxmlformats.org/officeDocument/2006/relationships/image" Target="../media/image47.png"/><Relationship Id="rId4" Type="http://schemas.openxmlformats.org/officeDocument/2006/relationships/image" Target="../media/image9.png"/><Relationship Id="rId9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7.png"/><Relationship Id="rId7" Type="http://schemas.openxmlformats.org/officeDocument/2006/relationships/slide" Target="slide4.xml"/><Relationship Id="rId2" Type="http://schemas.openxmlformats.org/officeDocument/2006/relationships/audio" Target="../media/audio3.wav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20.png"/><Relationship Id="rId10" Type="http://schemas.openxmlformats.org/officeDocument/2006/relationships/image" Target="../media/image48.png"/><Relationship Id="rId4" Type="http://schemas.openxmlformats.org/officeDocument/2006/relationships/image" Target="../media/image9.png"/><Relationship Id="rId9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7.png"/><Relationship Id="rId7" Type="http://schemas.openxmlformats.org/officeDocument/2006/relationships/slide" Target="slide4.xml"/><Relationship Id="rId2" Type="http://schemas.openxmlformats.org/officeDocument/2006/relationships/audio" Target="../media/audio3.wav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20.png"/><Relationship Id="rId10" Type="http://schemas.openxmlformats.org/officeDocument/2006/relationships/image" Target="../media/image49.png"/><Relationship Id="rId4" Type="http://schemas.openxmlformats.org/officeDocument/2006/relationships/image" Target="../media/image9.png"/><Relationship Id="rId9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7.png"/><Relationship Id="rId7" Type="http://schemas.openxmlformats.org/officeDocument/2006/relationships/slide" Target="slide4.xml"/><Relationship Id="rId2" Type="http://schemas.openxmlformats.org/officeDocument/2006/relationships/audio" Target="../media/audio3.wav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20.png"/><Relationship Id="rId10" Type="http://schemas.openxmlformats.org/officeDocument/2006/relationships/image" Target="../media/image50.png"/><Relationship Id="rId4" Type="http://schemas.openxmlformats.org/officeDocument/2006/relationships/image" Target="../media/image9.png"/><Relationship Id="rId9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7.png"/><Relationship Id="rId7" Type="http://schemas.openxmlformats.org/officeDocument/2006/relationships/slide" Target="slide4.xml"/><Relationship Id="rId2" Type="http://schemas.openxmlformats.org/officeDocument/2006/relationships/audio" Target="../media/audio3.wav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20.png"/><Relationship Id="rId10" Type="http://schemas.openxmlformats.org/officeDocument/2006/relationships/image" Target="../media/image51.png"/><Relationship Id="rId4" Type="http://schemas.openxmlformats.org/officeDocument/2006/relationships/image" Target="../media/image9.png"/><Relationship Id="rId9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D8C3B8B-8455-BFC3-198F-BEDA465FA00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49"/>
          <a:stretch/>
        </p:blipFill>
        <p:spPr>
          <a:xfrm>
            <a:off x="-152400" y="-9244"/>
            <a:ext cx="12344400" cy="6867244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D7A4637A-4ADE-AE64-DABA-70D6A845C77C}"/>
              </a:ext>
            </a:extLst>
          </p:cNvPr>
          <p:cNvGrpSpPr/>
          <p:nvPr/>
        </p:nvGrpSpPr>
        <p:grpSpPr>
          <a:xfrm>
            <a:off x="2245128" y="1721946"/>
            <a:ext cx="6303900" cy="1417156"/>
            <a:chOff x="2245128" y="1721946"/>
            <a:chExt cx="6303900" cy="141715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7D4011B-B8EA-47C8-0BC7-DB06BB830C4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5128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8" y="1262126"/>
                    <a:pt x="4368728" y="1326463"/>
                  </a:cubicBezTo>
                  <a:cubicBezTo>
                    <a:pt x="4368728" y="1386925"/>
                    <a:pt x="4338885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0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4" y="1164845"/>
                  </a:moveTo>
                  <a:cubicBezTo>
                    <a:pt x="686004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4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3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5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6" y="562557"/>
                    <a:pt x="3480931" y="554418"/>
                    <a:pt x="3443724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3" y="638909"/>
                    <a:pt x="4169903" y="719524"/>
                  </a:cubicBezTo>
                  <a:cubicBezTo>
                    <a:pt x="4169903" y="778435"/>
                    <a:pt x="4176880" y="823393"/>
                    <a:pt x="4190832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6" y="917186"/>
                    <a:pt x="4360589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90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0" y="330013"/>
                  </a:moveTo>
                  <a:lnTo>
                    <a:pt x="2619430" y="576509"/>
                  </a:lnTo>
                  <a:cubicBezTo>
                    <a:pt x="2619430" y="667976"/>
                    <a:pt x="2620206" y="750917"/>
                    <a:pt x="2621756" y="825331"/>
                  </a:cubicBezTo>
                  <a:cubicBezTo>
                    <a:pt x="2623306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1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4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6" y="542403"/>
                    <a:pt x="3825096" y="702083"/>
                  </a:cubicBezTo>
                  <a:cubicBezTo>
                    <a:pt x="3825096" y="854787"/>
                    <a:pt x="3797191" y="965245"/>
                    <a:pt x="3741381" y="1033458"/>
                  </a:cubicBezTo>
                  <a:cubicBezTo>
                    <a:pt x="3681694" y="1107872"/>
                    <a:pt x="3566585" y="1145079"/>
                    <a:pt x="3396053" y="1145079"/>
                  </a:cubicBezTo>
                  <a:lnTo>
                    <a:pt x="3335591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1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6" y="291837"/>
                    <a:pt x="4839897" y="294743"/>
                    <a:pt x="4880204" y="298619"/>
                  </a:cubicBezTo>
                  <a:cubicBezTo>
                    <a:pt x="4924388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7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4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2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5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50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3" y="664101"/>
                    <a:pt x="595506" y="667395"/>
                    <a:pt x="588918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7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2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3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4" y="821843"/>
                    <a:pt x="283704" y="849748"/>
                  </a:cubicBezTo>
                  <a:cubicBezTo>
                    <a:pt x="283704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29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6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5" y="312184"/>
                    <a:pt x="4568329" y="362569"/>
                    <a:pt x="4609411" y="439308"/>
                  </a:cubicBezTo>
                  <a:cubicBezTo>
                    <a:pt x="4650494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6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7" y="1011754"/>
                    <a:pt x="3878836" y="916411"/>
                    <a:pt x="3875735" y="793938"/>
                  </a:cubicBezTo>
                  <a:cubicBezTo>
                    <a:pt x="3874960" y="790062"/>
                    <a:pt x="3874572" y="778435"/>
                    <a:pt x="3874572" y="759056"/>
                  </a:cubicBezTo>
                  <a:cubicBezTo>
                    <a:pt x="3874572" y="609453"/>
                    <a:pt x="3909454" y="494344"/>
                    <a:pt x="3979217" y="413728"/>
                  </a:cubicBezTo>
                  <a:cubicBezTo>
                    <a:pt x="4009448" y="378072"/>
                    <a:pt x="4044717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2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2" y="599764"/>
                  </a:lnTo>
                  <a:lnTo>
                    <a:pt x="6050003" y="611391"/>
                  </a:lnTo>
                  <a:lnTo>
                    <a:pt x="6050003" y="592787"/>
                  </a:lnTo>
                  <a:cubicBezTo>
                    <a:pt x="6050003" y="573409"/>
                    <a:pt x="6041864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7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1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6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70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5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7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7" y="243953"/>
                  </a:cubicBezTo>
                  <a:cubicBezTo>
                    <a:pt x="4374155" y="245516"/>
                    <a:pt x="4357876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4" y="246684"/>
                    <a:pt x="4200522" y="246103"/>
                    <a:pt x="4185019" y="245715"/>
                  </a:cubicBezTo>
                  <a:cubicBezTo>
                    <a:pt x="4169516" y="245328"/>
                    <a:pt x="4152850" y="244746"/>
                    <a:pt x="4135022" y="243971"/>
                  </a:cubicBezTo>
                  <a:lnTo>
                    <a:pt x="4057120" y="241628"/>
                  </a:lnTo>
                  <a:cubicBezTo>
                    <a:pt x="4065646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4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9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7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8" y="86229"/>
                    <a:pt x="1898666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solidFill>
              <a:schemeClr val="bg1"/>
            </a:solidFill>
            <a:ln w="254000">
              <a:solidFill>
                <a:schemeClr val="accent6">
                  <a:lumMod val="75000"/>
                </a:schemeClr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 w="254000">
                  <a:solidFill>
                    <a:srgbClr val="ED5565">
                      <a:lumMod val="7500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7FB755D-B4B6-2682-721B-A4E07A07093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5128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8" y="1262126"/>
                    <a:pt x="4368728" y="1326463"/>
                  </a:cubicBezTo>
                  <a:cubicBezTo>
                    <a:pt x="4368728" y="1386925"/>
                    <a:pt x="4338885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0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4" y="1164845"/>
                  </a:moveTo>
                  <a:cubicBezTo>
                    <a:pt x="686004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4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3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5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6" y="562557"/>
                    <a:pt x="3480931" y="554418"/>
                    <a:pt x="3443724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3" y="638909"/>
                    <a:pt x="4169903" y="719524"/>
                  </a:cubicBezTo>
                  <a:cubicBezTo>
                    <a:pt x="4169903" y="778435"/>
                    <a:pt x="4176880" y="823393"/>
                    <a:pt x="4190832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6" y="917186"/>
                    <a:pt x="4360589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90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0" y="330013"/>
                  </a:moveTo>
                  <a:lnTo>
                    <a:pt x="2619430" y="576509"/>
                  </a:lnTo>
                  <a:cubicBezTo>
                    <a:pt x="2619430" y="667976"/>
                    <a:pt x="2620206" y="750917"/>
                    <a:pt x="2621756" y="825331"/>
                  </a:cubicBezTo>
                  <a:cubicBezTo>
                    <a:pt x="2623306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1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4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6" y="542403"/>
                    <a:pt x="3825096" y="702083"/>
                  </a:cubicBezTo>
                  <a:cubicBezTo>
                    <a:pt x="3825096" y="854787"/>
                    <a:pt x="3797191" y="965245"/>
                    <a:pt x="3741381" y="1033458"/>
                  </a:cubicBezTo>
                  <a:cubicBezTo>
                    <a:pt x="3681694" y="1107872"/>
                    <a:pt x="3566585" y="1145079"/>
                    <a:pt x="3396053" y="1145079"/>
                  </a:cubicBezTo>
                  <a:lnTo>
                    <a:pt x="3335591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1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6" y="291837"/>
                    <a:pt x="4839897" y="294743"/>
                    <a:pt x="4880204" y="298619"/>
                  </a:cubicBezTo>
                  <a:cubicBezTo>
                    <a:pt x="4924388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7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4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2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5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50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3" y="664101"/>
                    <a:pt x="595506" y="667395"/>
                    <a:pt x="588918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7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2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3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4" y="821843"/>
                    <a:pt x="283704" y="849748"/>
                  </a:cubicBezTo>
                  <a:cubicBezTo>
                    <a:pt x="283704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29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6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5" y="312184"/>
                    <a:pt x="4568329" y="362569"/>
                    <a:pt x="4609411" y="439308"/>
                  </a:cubicBezTo>
                  <a:cubicBezTo>
                    <a:pt x="4650494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6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7" y="1011754"/>
                    <a:pt x="3878836" y="916411"/>
                    <a:pt x="3875735" y="793938"/>
                  </a:cubicBezTo>
                  <a:cubicBezTo>
                    <a:pt x="3874960" y="790062"/>
                    <a:pt x="3874572" y="778435"/>
                    <a:pt x="3874572" y="759056"/>
                  </a:cubicBezTo>
                  <a:cubicBezTo>
                    <a:pt x="3874572" y="609453"/>
                    <a:pt x="3909454" y="494344"/>
                    <a:pt x="3979217" y="413728"/>
                  </a:cubicBezTo>
                  <a:cubicBezTo>
                    <a:pt x="4009448" y="378072"/>
                    <a:pt x="4044717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2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2" y="599764"/>
                  </a:lnTo>
                  <a:lnTo>
                    <a:pt x="6050003" y="611391"/>
                  </a:lnTo>
                  <a:lnTo>
                    <a:pt x="6050003" y="592787"/>
                  </a:lnTo>
                  <a:cubicBezTo>
                    <a:pt x="6050003" y="573409"/>
                    <a:pt x="6041864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7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1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6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70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5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7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7" y="243953"/>
                  </a:cubicBezTo>
                  <a:cubicBezTo>
                    <a:pt x="4374155" y="245516"/>
                    <a:pt x="4357876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4" y="246684"/>
                    <a:pt x="4200522" y="246103"/>
                    <a:pt x="4185019" y="245715"/>
                  </a:cubicBezTo>
                  <a:cubicBezTo>
                    <a:pt x="4169516" y="245328"/>
                    <a:pt x="4152850" y="244746"/>
                    <a:pt x="4135022" y="243971"/>
                  </a:cubicBezTo>
                  <a:lnTo>
                    <a:pt x="4057120" y="241628"/>
                  </a:lnTo>
                  <a:cubicBezTo>
                    <a:pt x="4065646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4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9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7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8" y="86229"/>
                    <a:pt x="1898666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solidFill>
              <a:schemeClr val="bg1"/>
            </a:solidFill>
            <a:ln w="177800">
              <a:solidFill>
                <a:schemeClr val="bg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 w="177800"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FE0B441-82BD-FA01-C3BF-6AA240ACE042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6716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9" y="1262126"/>
                    <a:pt x="4368729" y="1326463"/>
                  </a:cubicBezTo>
                  <a:cubicBezTo>
                    <a:pt x="4368729" y="1386925"/>
                    <a:pt x="4338886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1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5" y="1164845"/>
                  </a:moveTo>
                  <a:cubicBezTo>
                    <a:pt x="686005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5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4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6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7" y="562557"/>
                    <a:pt x="3480932" y="554418"/>
                    <a:pt x="3443725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4" y="638909"/>
                    <a:pt x="4169904" y="719524"/>
                  </a:cubicBezTo>
                  <a:cubicBezTo>
                    <a:pt x="4169904" y="778435"/>
                    <a:pt x="4176880" y="823393"/>
                    <a:pt x="4190833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7" y="917186"/>
                    <a:pt x="4360590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89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1" y="330013"/>
                  </a:moveTo>
                  <a:lnTo>
                    <a:pt x="2619431" y="576509"/>
                  </a:lnTo>
                  <a:cubicBezTo>
                    <a:pt x="2619431" y="667976"/>
                    <a:pt x="2620206" y="750917"/>
                    <a:pt x="2621756" y="825331"/>
                  </a:cubicBezTo>
                  <a:cubicBezTo>
                    <a:pt x="2623307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2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5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7" y="542403"/>
                    <a:pt x="3825097" y="702083"/>
                  </a:cubicBezTo>
                  <a:cubicBezTo>
                    <a:pt x="3825097" y="854787"/>
                    <a:pt x="3797191" y="965245"/>
                    <a:pt x="3741381" y="1033458"/>
                  </a:cubicBezTo>
                  <a:cubicBezTo>
                    <a:pt x="3681695" y="1107872"/>
                    <a:pt x="3566585" y="1145079"/>
                    <a:pt x="3396053" y="1145079"/>
                  </a:cubicBezTo>
                  <a:lnTo>
                    <a:pt x="3335592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2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5" y="291837"/>
                    <a:pt x="4839897" y="294743"/>
                    <a:pt x="4880204" y="298619"/>
                  </a:cubicBezTo>
                  <a:cubicBezTo>
                    <a:pt x="4924387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6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3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1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6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49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4" y="664101"/>
                    <a:pt x="595506" y="667395"/>
                    <a:pt x="588917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8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1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4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3" y="821843"/>
                    <a:pt x="283703" y="849748"/>
                  </a:cubicBezTo>
                  <a:cubicBezTo>
                    <a:pt x="283703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30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5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6" y="312184"/>
                    <a:pt x="4568329" y="362569"/>
                    <a:pt x="4609412" y="439308"/>
                  </a:cubicBezTo>
                  <a:cubicBezTo>
                    <a:pt x="4650495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7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8" y="1011754"/>
                    <a:pt x="3878836" y="916411"/>
                    <a:pt x="3875735" y="793938"/>
                  </a:cubicBezTo>
                  <a:cubicBezTo>
                    <a:pt x="3874960" y="790062"/>
                    <a:pt x="3874573" y="778435"/>
                    <a:pt x="3874573" y="759056"/>
                  </a:cubicBezTo>
                  <a:cubicBezTo>
                    <a:pt x="3874573" y="609453"/>
                    <a:pt x="3909454" y="494344"/>
                    <a:pt x="3979217" y="413728"/>
                  </a:cubicBezTo>
                  <a:cubicBezTo>
                    <a:pt x="4009448" y="378072"/>
                    <a:pt x="4044718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1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1" y="599764"/>
                  </a:lnTo>
                  <a:lnTo>
                    <a:pt x="6050002" y="611391"/>
                  </a:lnTo>
                  <a:lnTo>
                    <a:pt x="6050002" y="592787"/>
                  </a:lnTo>
                  <a:cubicBezTo>
                    <a:pt x="6050002" y="573409"/>
                    <a:pt x="6041863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6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0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5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69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6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8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8" y="243953"/>
                  </a:cubicBezTo>
                  <a:cubicBezTo>
                    <a:pt x="4374155" y="245516"/>
                    <a:pt x="4357877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5" y="246684"/>
                    <a:pt x="4200522" y="246103"/>
                    <a:pt x="4185019" y="245715"/>
                  </a:cubicBezTo>
                  <a:cubicBezTo>
                    <a:pt x="4169516" y="245328"/>
                    <a:pt x="4152851" y="244746"/>
                    <a:pt x="4135022" y="243971"/>
                  </a:cubicBezTo>
                  <a:lnTo>
                    <a:pt x="4057120" y="241628"/>
                  </a:lnTo>
                  <a:cubicBezTo>
                    <a:pt x="4065647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5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8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6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7" y="86229"/>
                    <a:pt x="1898665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gradFill>
              <a:gsLst>
                <a:gs pos="100000">
                  <a:schemeClr val="accent5"/>
                </a:gs>
                <a:gs pos="0">
                  <a:schemeClr val="accent6">
                    <a:lumMod val="75000"/>
                  </a:scheme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>
                  <a:noFill/>
                </a:ln>
                <a:gradFill>
                  <a:gsLst>
                    <a:gs pos="100000">
                      <a:srgbClr val="FC6E51"/>
                    </a:gs>
                    <a:gs pos="0">
                      <a:srgbClr val="ED5565">
                        <a:lumMod val="75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099942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2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120000">
                                      <p:cBhvr>
                                        <p:cTn id="12" dur="7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150" fill="hold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15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15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15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758AD433-BC39-4158-8E4E-515A12B1433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C470E99-CE07-4471-ADBB-ED54C05C717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9040" y="202376"/>
            <a:ext cx="7232166" cy="497591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09850B7-83E2-493E-8783-7E649E80A2B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344" y="1112570"/>
            <a:ext cx="4164118" cy="5538747"/>
          </a:xfrm>
          <a:prstGeom prst="rect">
            <a:avLst/>
          </a:prstGeom>
        </p:spPr>
      </p:pic>
      <p:pic>
        <p:nvPicPr>
          <p:cNvPr id="20" name="Picture 4" descr="Scripted Clock Animation - Openclipart">
            <a:extLst>
              <a:ext uri="{FF2B5EF4-FFF2-40B4-BE49-F238E27FC236}">
                <a16:creationId xmlns:a16="http://schemas.microsoft.com/office/drawing/2014/main" id="{52F91D27-493F-4581-ADAB-BF60CA18F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1" y="202377"/>
            <a:ext cx="1749230" cy="174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59EAFF2-69B8-4655-9077-6C40C8360519}"/>
              </a:ext>
            </a:extLst>
          </p:cNvPr>
          <p:cNvSpPr txBox="1"/>
          <p:nvPr/>
        </p:nvSpPr>
        <p:spPr>
          <a:xfrm>
            <a:off x="2765232" y="487680"/>
            <a:ext cx="6714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ì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h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ó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ên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à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ọc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Đ Ghé thăm Fb.com/nkpowerskills">
            <a:extLst>
              <a:ext uri="{FF2B5EF4-FFF2-40B4-BE49-F238E27FC236}">
                <a16:creationId xmlns:a16="http://schemas.microsoft.com/office/drawing/2014/main" id="{1143C9EB-CA29-4857-BDF6-1C89478DC6C5}"/>
              </a:ext>
            </a:extLst>
          </p:cNvPr>
          <p:cNvSpPr/>
          <p:nvPr/>
        </p:nvSpPr>
        <p:spPr>
          <a:xfrm>
            <a:off x="2405271" y="5588595"/>
            <a:ext cx="6867938" cy="115977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lvl="0" algn="ctr"/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</a:t>
            </a:r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ìm</a:t>
            </a:r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ặt</a:t>
            </a:r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ời</a:t>
            </a:r>
            <a:endParaRPr kumimoji="0" lang="en-US" sz="36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>
            <a:hlinkClick r:id="rId7" action="ppaction://hlinksldjump"/>
            <a:extLst>
              <a:ext uri="{FF2B5EF4-FFF2-40B4-BE49-F238E27FC236}">
                <a16:creationId xmlns:a16="http://schemas.microsoft.com/office/drawing/2014/main" id="{28E3A10E-7210-4E4B-8E4F-2C587A6EFFF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33" y="5681246"/>
            <a:ext cx="970071" cy="970071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24" name="Picture 4" descr="Káº¿t quáº£ hÃ¬nh áº£nh cho right icon">
            <a:extLst>
              <a:ext uri="{FF2B5EF4-FFF2-40B4-BE49-F238E27FC236}">
                <a16:creationId xmlns:a16="http://schemas.microsoft.com/office/drawing/2014/main" id="{64246B00-6E50-4C39-9BEF-02BF26BE2C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8801" y="5388859"/>
            <a:ext cx="952912" cy="95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FACD494-3A9D-4E9B-8E75-F14E4315226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36119" y="1268067"/>
            <a:ext cx="3516457" cy="336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430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tra-loi-dung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F47B174-E690-4E6F-A876-EE69B1F2CC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3462EC7-C3D3-4CF2-8684-0153528A74D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9040" y="202376"/>
            <a:ext cx="7232166" cy="497591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E00DF09-E0EB-41B3-A91D-A77424E228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344" y="1112570"/>
            <a:ext cx="4164118" cy="5538747"/>
          </a:xfrm>
          <a:prstGeom prst="rect">
            <a:avLst/>
          </a:prstGeom>
        </p:spPr>
      </p:pic>
      <p:pic>
        <p:nvPicPr>
          <p:cNvPr id="20" name="Picture 4" descr="Scripted Clock Animation - Openclipart">
            <a:extLst>
              <a:ext uri="{FF2B5EF4-FFF2-40B4-BE49-F238E27FC236}">
                <a16:creationId xmlns:a16="http://schemas.microsoft.com/office/drawing/2014/main" id="{650820AD-C68D-4913-8417-191F54FD97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1" y="202377"/>
            <a:ext cx="1749230" cy="174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B6BF19E-7B48-4C3D-94E2-8B1F22EDABF2}"/>
              </a:ext>
            </a:extLst>
          </p:cNvPr>
          <p:cNvSpPr txBox="1"/>
          <p:nvPr/>
        </p:nvSpPr>
        <p:spPr>
          <a:xfrm>
            <a:off x="2765232" y="487680"/>
            <a:ext cx="6714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ì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h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ó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ên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à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ọc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Đ Ghé thăm Fb.com/nkpowerskills">
            <a:extLst>
              <a:ext uri="{FF2B5EF4-FFF2-40B4-BE49-F238E27FC236}">
                <a16:creationId xmlns:a16="http://schemas.microsoft.com/office/drawing/2014/main" id="{9B3696AE-143F-4AD1-9481-BDA03CF2AAC3}"/>
              </a:ext>
            </a:extLst>
          </p:cNvPr>
          <p:cNvSpPr/>
          <p:nvPr/>
        </p:nvSpPr>
        <p:spPr>
          <a:xfrm>
            <a:off x="2405271" y="5588595"/>
            <a:ext cx="6867938" cy="115977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lvl="0" algn="ctr"/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iếc</a:t>
            </a:r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áo</a:t>
            </a:r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ấm</a:t>
            </a:r>
            <a:endParaRPr lang="en-US" sz="3600" b="1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>
            <a:hlinkClick r:id="rId7" action="ppaction://hlinksldjump"/>
            <a:extLst>
              <a:ext uri="{FF2B5EF4-FFF2-40B4-BE49-F238E27FC236}">
                <a16:creationId xmlns:a16="http://schemas.microsoft.com/office/drawing/2014/main" id="{080176CB-84C5-4295-BDA3-00FC111DB53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33" y="5681246"/>
            <a:ext cx="970071" cy="970071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24" name="Picture 4" descr="Káº¿t quáº£ hÃ¬nh áº£nh cho right icon">
            <a:extLst>
              <a:ext uri="{FF2B5EF4-FFF2-40B4-BE49-F238E27FC236}">
                <a16:creationId xmlns:a16="http://schemas.microsoft.com/office/drawing/2014/main" id="{09BA18B8-CEA2-4BFD-A088-FBD19ADDF9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8801" y="5388859"/>
            <a:ext cx="952912" cy="95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5BF1E05-A5D4-43BD-8D20-B68D122C57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4743" y="1195387"/>
            <a:ext cx="3306802" cy="350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1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tra-loi-dung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1DED9B5-F7A1-44AC-82F1-E0E835F6DD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7E439BF-223B-41C5-A115-31CFE3BFB749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9040" y="202376"/>
            <a:ext cx="7232166" cy="497591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888644F-CF97-4C69-9A67-81CCDB599D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344" y="1112570"/>
            <a:ext cx="4164118" cy="5538747"/>
          </a:xfrm>
          <a:prstGeom prst="rect">
            <a:avLst/>
          </a:prstGeom>
        </p:spPr>
      </p:pic>
      <p:pic>
        <p:nvPicPr>
          <p:cNvPr id="20" name="Picture 4" descr="Scripted Clock Animation - Openclipart">
            <a:extLst>
              <a:ext uri="{FF2B5EF4-FFF2-40B4-BE49-F238E27FC236}">
                <a16:creationId xmlns:a16="http://schemas.microsoft.com/office/drawing/2014/main" id="{607B73DE-A2E5-4885-888F-FFE0953A7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1" y="202377"/>
            <a:ext cx="1749230" cy="174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E25A5AB-5BE1-419D-B687-CFE3057FE67E}"/>
              </a:ext>
            </a:extLst>
          </p:cNvPr>
          <p:cNvSpPr txBox="1"/>
          <p:nvPr/>
        </p:nvSpPr>
        <p:spPr>
          <a:xfrm>
            <a:off x="2765232" y="487680"/>
            <a:ext cx="6714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ì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h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ó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ên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à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ọc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Đ Ghé thăm Fb.com/nkpowerskills">
            <a:extLst>
              <a:ext uri="{FF2B5EF4-FFF2-40B4-BE49-F238E27FC236}">
                <a16:creationId xmlns:a16="http://schemas.microsoft.com/office/drawing/2014/main" id="{5A34C083-EF96-4F8B-842C-F7EE1542DAA5}"/>
              </a:ext>
            </a:extLst>
          </p:cNvPr>
          <p:cNvSpPr/>
          <p:nvPr/>
        </p:nvSpPr>
        <p:spPr>
          <a:xfrm>
            <a:off x="2405271" y="5588595"/>
            <a:ext cx="6867938" cy="115977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lvl="0" algn="ctr"/>
            <a:r>
              <a:rPr lang="en-US" sz="40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40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0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40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4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ôi</a:t>
            </a:r>
            <a:r>
              <a:rPr 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ỏ</a:t>
            </a:r>
            <a:endParaRPr kumimoji="0" lang="en-US" sz="40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>
            <a:hlinkClick r:id="rId7" action="ppaction://hlinksldjump"/>
            <a:extLst>
              <a:ext uri="{FF2B5EF4-FFF2-40B4-BE49-F238E27FC236}">
                <a16:creationId xmlns:a16="http://schemas.microsoft.com/office/drawing/2014/main" id="{8452B9CE-C8DC-4FE0-897C-8F6C1F2B882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33" y="5681246"/>
            <a:ext cx="970071" cy="970071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24" name="Picture 4" descr="Káº¿t quáº£ hÃ¬nh áº£nh cho right icon">
            <a:extLst>
              <a:ext uri="{FF2B5EF4-FFF2-40B4-BE49-F238E27FC236}">
                <a16:creationId xmlns:a16="http://schemas.microsoft.com/office/drawing/2014/main" id="{7B9FAF6E-E96D-4318-8CB0-0DBB73750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8801" y="5388859"/>
            <a:ext cx="952912" cy="95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F07AD58-B944-43B3-BFC7-28FD30C55D7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12439" y="1238249"/>
            <a:ext cx="3831121" cy="348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754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tra-loi-dung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Diagram&#10;&#10;Description automatically generated">
            <a:extLst>
              <a:ext uri="{FF2B5EF4-FFF2-40B4-BE49-F238E27FC236}">
                <a16:creationId xmlns:a16="http://schemas.microsoft.com/office/drawing/2014/main" id="{EA815ABA-F79C-4F9C-933F-38BAC10EE22B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09705" y="3657600"/>
            <a:ext cx="6304856" cy="320040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389E96EC-5220-4299-B049-DB0630A1194E}"/>
              </a:ext>
            </a:extLst>
          </p:cNvPr>
          <p:cNvGrpSpPr/>
          <p:nvPr/>
        </p:nvGrpSpPr>
        <p:grpSpPr>
          <a:xfrm>
            <a:off x="2206488" y="1801503"/>
            <a:ext cx="8366262" cy="1754326"/>
            <a:chOff x="4394577" y="1279684"/>
            <a:chExt cx="3347287" cy="1754326"/>
          </a:xfrm>
        </p:grpSpPr>
        <p:sp>
          <p:nvSpPr>
            <p:cNvPr id="43" name="Speech Bubble: Rectangle 18">
              <a:extLst>
                <a:ext uri="{FF2B5EF4-FFF2-40B4-BE49-F238E27FC236}">
                  <a16:creationId xmlns:a16="http://schemas.microsoft.com/office/drawing/2014/main" id="{B5E5B821-2D57-4497-8922-28BA3B766222}"/>
                </a:ext>
              </a:extLst>
            </p:cNvPr>
            <p:cNvSpPr/>
            <p:nvPr/>
          </p:nvSpPr>
          <p:spPr>
            <a:xfrm>
              <a:off x="4394577" y="1281203"/>
              <a:ext cx="3347287" cy="1569660"/>
            </a:xfrm>
            <a:prstGeom prst="wedgeRectCallout">
              <a:avLst/>
            </a:prstGeom>
            <a:solidFill>
              <a:srgbClr val="FFFF66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>
                <a:solidFill>
                  <a:prstClr val="white"/>
                </a:solidFill>
                <a:latin typeface="Arial"/>
                <a:sym typeface="Arial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2089A3D-9F29-4692-92F1-D3FB7A80C4DB}"/>
                </a:ext>
              </a:extLst>
            </p:cNvPr>
            <p:cNvSpPr txBox="1"/>
            <p:nvPr/>
          </p:nvSpPr>
          <p:spPr>
            <a:xfrm>
              <a:off x="4394577" y="1279684"/>
              <a:ext cx="3174419" cy="17543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4377"/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Đọc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một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trong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những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bài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trên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và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nêu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cảm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nghĩ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về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nhân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vật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em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thích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.</a:t>
              </a:r>
              <a:endParaRPr lang="en-US" sz="3600" b="1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6224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hiết kế chưa có tên (2)">
            <a:hlinkClick r:id="" action="ppaction://media"/>
            <a:extLst>
              <a:ext uri="{FF2B5EF4-FFF2-40B4-BE49-F238E27FC236}">
                <a16:creationId xmlns:a16="http://schemas.microsoft.com/office/drawing/2014/main" id="{D7FBECEF-1BE6-26D5-6FEB-3F9E069AF63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493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37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173C75-B6D1-CB27-3065-A2708A8B2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620FEBB-897A-BB29-2D09-157A6B898C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505981D-0216-CE01-3CAC-02B4F12D0D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447800"/>
            <a:ext cx="8526392" cy="3342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78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2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120000">
                                      <p:cBhvr>
                                        <p:cTn id="12" dur="7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150" fill="hold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15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15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15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8" name="Google Shape;1248;p35"/>
          <p:cNvGrpSpPr/>
          <p:nvPr/>
        </p:nvGrpSpPr>
        <p:grpSpPr>
          <a:xfrm>
            <a:off x="10627814" y="5557827"/>
            <a:ext cx="1352204" cy="1300171"/>
            <a:chOff x="7969313" y="3825894"/>
            <a:chExt cx="1101861" cy="1152362"/>
          </a:xfrm>
        </p:grpSpPr>
        <p:sp>
          <p:nvSpPr>
            <p:cNvPr id="1249" name="Google Shape;1249;p35"/>
            <p:cNvSpPr/>
            <p:nvPr/>
          </p:nvSpPr>
          <p:spPr>
            <a:xfrm rot="683019">
              <a:off x="8087071" y="3938749"/>
              <a:ext cx="861889" cy="929133"/>
            </a:xfrm>
            <a:custGeom>
              <a:avLst/>
              <a:gdLst/>
              <a:ahLst/>
              <a:cxnLst/>
              <a:rect l="l" t="t" r="r" b="b"/>
              <a:pathLst>
                <a:path w="23562" h="25402" extrusionOk="0">
                  <a:moveTo>
                    <a:pt x="5370" y="0"/>
                  </a:moveTo>
                  <a:cubicBezTo>
                    <a:pt x="5203" y="0"/>
                    <a:pt x="5039" y="37"/>
                    <a:pt x="4886" y="120"/>
                  </a:cubicBezTo>
                  <a:cubicBezTo>
                    <a:pt x="4379" y="395"/>
                    <a:pt x="4231" y="1071"/>
                    <a:pt x="4336" y="1621"/>
                  </a:cubicBezTo>
                  <a:cubicBezTo>
                    <a:pt x="4506" y="2615"/>
                    <a:pt x="5267" y="3419"/>
                    <a:pt x="6155" y="3905"/>
                  </a:cubicBezTo>
                  <a:cubicBezTo>
                    <a:pt x="6853" y="4265"/>
                    <a:pt x="7614" y="4497"/>
                    <a:pt x="8418" y="4624"/>
                  </a:cubicBezTo>
                  <a:cubicBezTo>
                    <a:pt x="8228" y="4688"/>
                    <a:pt x="8037" y="4751"/>
                    <a:pt x="7868" y="4815"/>
                  </a:cubicBezTo>
                  <a:lnTo>
                    <a:pt x="7022" y="5153"/>
                  </a:lnTo>
                  <a:cubicBezTo>
                    <a:pt x="2792" y="6782"/>
                    <a:pt x="1" y="10842"/>
                    <a:pt x="1" y="15389"/>
                  </a:cubicBezTo>
                  <a:cubicBezTo>
                    <a:pt x="1" y="19514"/>
                    <a:pt x="2835" y="23088"/>
                    <a:pt x="6832" y="24061"/>
                  </a:cubicBezTo>
                  <a:cubicBezTo>
                    <a:pt x="7213" y="24695"/>
                    <a:pt x="7826" y="25160"/>
                    <a:pt x="8545" y="25351"/>
                  </a:cubicBezTo>
                  <a:cubicBezTo>
                    <a:pt x="8677" y="25384"/>
                    <a:pt x="8831" y="25401"/>
                    <a:pt x="8991" y="25401"/>
                  </a:cubicBezTo>
                  <a:cubicBezTo>
                    <a:pt x="9653" y="25401"/>
                    <a:pt x="10417" y="25098"/>
                    <a:pt x="10110" y="24314"/>
                  </a:cubicBezTo>
                  <a:lnTo>
                    <a:pt x="10110" y="24293"/>
                  </a:lnTo>
                  <a:lnTo>
                    <a:pt x="13283" y="24293"/>
                  </a:lnTo>
                  <a:lnTo>
                    <a:pt x="13283" y="24526"/>
                  </a:lnTo>
                  <a:cubicBezTo>
                    <a:pt x="13283" y="24547"/>
                    <a:pt x="13304" y="24547"/>
                    <a:pt x="13325" y="24547"/>
                  </a:cubicBezTo>
                  <a:lnTo>
                    <a:pt x="13346" y="24653"/>
                  </a:lnTo>
                  <a:cubicBezTo>
                    <a:pt x="13283" y="24674"/>
                    <a:pt x="13240" y="24737"/>
                    <a:pt x="13240" y="24801"/>
                  </a:cubicBezTo>
                  <a:cubicBezTo>
                    <a:pt x="13332" y="25238"/>
                    <a:pt x="13619" y="25402"/>
                    <a:pt x="13949" y="25402"/>
                  </a:cubicBezTo>
                  <a:cubicBezTo>
                    <a:pt x="14305" y="25402"/>
                    <a:pt x="14711" y="25212"/>
                    <a:pt x="14974" y="24970"/>
                  </a:cubicBezTo>
                  <a:cubicBezTo>
                    <a:pt x="15207" y="24759"/>
                    <a:pt x="15397" y="24526"/>
                    <a:pt x="15524" y="24251"/>
                  </a:cubicBezTo>
                  <a:cubicBezTo>
                    <a:pt x="20093" y="23807"/>
                    <a:pt x="23561" y="19979"/>
                    <a:pt x="23561" y="15389"/>
                  </a:cubicBezTo>
                  <a:cubicBezTo>
                    <a:pt x="23561" y="10842"/>
                    <a:pt x="20812" y="6739"/>
                    <a:pt x="16624" y="5005"/>
                  </a:cubicBezTo>
                  <a:lnTo>
                    <a:pt x="16434" y="4920"/>
                  </a:lnTo>
                  <a:cubicBezTo>
                    <a:pt x="15778" y="4646"/>
                    <a:pt x="15101" y="4455"/>
                    <a:pt x="14403" y="4307"/>
                  </a:cubicBezTo>
                  <a:cubicBezTo>
                    <a:pt x="14150" y="3884"/>
                    <a:pt x="13980" y="3440"/>
                    <a:pt x="13896" y="2954"/>
                  </a:cubicBezTo>
                  <a:cubicBezTo>
                    <a:pt x="13840" y="2658"/>
                    <a:pt x="13672" y="2250"/>
                    <a:pt x="13419" y="2250"/>
                  </a:cubicBezTo>
                  <a:cubicBezTo>
                    <a:pt x="13382" y="2250"/>
                    <a:pt x="13344" y="2258"/>
                    <a:pt x="13304" y="2277"/>
                  </a:cubicBezTo>
                  <a:cubicBezTo>
                    <a:pt x="13177" y="2340"/>
                    <a:pt x="13092" y="2446"/>
                    <a:pt x="13050" y="2573"/>
                  </a:cubicBezTo>
                  <a:cubicBezTo>
                    <a:pt x="12860" y="2975"/>
                    <a:pt x="12690" y="3377"/>
                    <a:pt x="12542" y="3800"/>
                  </a:cubicBezTo>
                  <a:cubicBezTo>
                    <a:pt x="11802" y="3482"/>
                    <a:pt x="11273" y="2848"/>
                    <a:pt x="11083" y="2065"/>
                  </a:cubicBezTo>
                  <a:cubicBezTo>
                    <a:pt x="11041" y="1706"/>
                    <a:pt x="10977" y="1346"/>
                    <a:pt x="10893" y="1008"/>
                  </a:cubicBezTo>
                  <a:cubicBezTo>
                    <a:pt x="10787" y="648"/>
                    <a:pt x="10491" y="395"/>
                    <a:pt x="10110" y="373"/>
                  </a:cubicBezTo>
                  <a:cubicBezTo>
                    <a:pt x="9751" y="373"/>
                    <a:pt x="9476" y="754"/>
                    <a:pt x="9391" y="1114"/>
                  </a:cubicBezTo>
                  <a:cubicBezTo>
                    <a:pt x="9349" y="1494"/>
                    <a:pt x="9328" y="1875"/>
                    <a:pt x="9328" y="2256"/>
                  </a:cubicBezTo>
                  <a:cubicBezTo>
                    <a:pt x="9328" y="2425"/>
                    <a:pt x="9243" y="2594"/>
                    <a:pt x="9116" y="2700"/>
                  </a:cubicBezTo>
                  <a:cubicBezTo>
                    <a:pt x="9031" y="2742"/>
                    <a:pt x="8926" y="2763"/>
                    <a:pt x="8841" y="2763"/>
                  </a:cubicBezTo>
                  <a:cubicBezTo>
                    <a:pt x="8270" y="2763"/>
                    <a:pt x="7784" y="2340"/>
                    <a:pt x="7445" y="1875"/>
                  </a:cubicBezTo>
                  <a:cubicBezTo>
                    <a:pt x="7107" y="1410"/>
                    <a:pt x="6853" y="881"/>
                    <a:pt x="6451" y="479"/>
                  </a:cubicBezTo>
                  <a:cubicBezTo>
                    <a:pt x="6156" y="198"/>
                    <a:pt x="5757" y="0"/>
                    <a:pt x="5370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0" name="Google Shape;1250;p35"/>
            <p:cNvSpPr/>
            <p:nvPr/>
          </p:nvSpPr>
          <p:spPr>
            <a:xfrm rot="683019">
              <a:off x="8057662" y="3910035"/>
              <a:ext cx="921404" cy="986998"/>
            </a:xfrm>
            <a:custGeom>
              <a:avLst/>
              <a:gdLst/>
              <a:ahLst/>
              <a:cxnLst/>
              <a:rect l="l" t="t" r="r" b="b"/>
              <a:pathLst>
                <a:path w="25189" h="26984" extrusionOk="0">
                  <a:moveTo>
                    <a:pt x="6154" y="1583"/>
                  </a:moveTo>
                  <a:cubicBezTo>
                    <a:pt x="6366" y="1605"/>
                    <a:pt x="6556" y="1710"/>
                    <a:pt x="6683" y="1858"/>
                  </a:cubicBezTo>
                  <a:cubicBezTo>
                    <a:pt x="6895" y="2070"/>
                    <a:pt x="7085" y="2324"/>
                    <a:pt x="7233" y="2599"/>
                  </a:cubicBezTo>
                  <a:cubicBezTo>
                    <a:pt x="7360" y="2768"/>
                    <a:pt x="7466" y="2958"/>
                    <a:pt x="7614" y="3148"/>
                  </a:cubicBezTo>
                  <a:cubicBezTo>
                    <a:pt x="8164" y="3910"/>
                    <a:pt x="8904" y="4354"/>
                    <a:pt x="9644" y="4354"/>
                  </a:cubicBezTo>
                  <a:cubicBezTo>
                    <a:pt x="9657" y="4354"/>
                    <a:pt x="9670" y="4355"/>
                    <a:pt x="9683" y="4355"/>
                  </a:cubicBezTo>
                  <a:cubicBezTo>
                    <a:pt x="10363" y="4355"/>
                    <a:pt x="10913" y="3812"/>
                    <a:pt x="10913" y="3127"/>
                  </a:cubicBezTo>
                  <a:cubicBezTo>
                    <a:pt x="10934" y="2937"/>
                    <a:pt x="10934" y="2768"/>
                    <a:pt x="10934" y="2577"/>
                  </a:cubicBezTo>
                  <a:cubicBezTo>
                    <a:pt x="10934" y="2429"/>
                    <a:pt x="10934" y="2260"/>
                    <a:pt x="10955" y="2112"/>
                  </a:cubicBezTo>
                  <a:cubicBezTo>
                    <a:pt x="10998" y="2260"/>
                    <a:pt x="11019" y="2387"/>
                    <a:pt x="11040" y="2535"/>
                  </a:cubicBezTo>
                  <a:cubicBezTo>
                    <a:pt x="11061" y="2683"/>
                    <a:pt x="11082" y="2852"/>
                    <a:pt x="11125" y="3022"/>
                  </a:cubicBezTo>
                  <a:cubicBezTo>
                    <a:pt x="11357" y="4058"/>
                    <a:pt x="12076" y="4904"/>
                    <a:pt x="13049" y="5306"/>
                  </a:cubicBezTo>
                  <a:lnTo>
                    <a:pt x="13832" y="5644"/>
                  </a:lnTo>
                  <a:lnTo>
                    <a:pt x="14107" y="4840"/>
                  </a:lnTo>
                  <a:cubicBezTo>
                    <a:pt x="14107" y="4798"/>
                    <a:pt x="14128" y="4756"/>
                    <a:pt x="14149" y="4713"/>
                  </a:cubicBezTo>
                  <a:cubicBezTo>
                    <a:pt x="14255" y="4988"/>
                    <a:pt x="14382" y="5242"/>
                    <a:pt x="14530" y="5496"/>
                  </a:cubicBezTo>
                  <a:lnTo>
                    <a:pt x="14699" y="5792"/>
                  </a:lnTo>
                  <a:lnTo>
                    <a:pt x="15037" y="5856"/>
                  </a:lnTo>
                  <a:cubicBezTo>
                    <a:pt x="15693" y="6004"/>
                    <a:pt x="16327" y="6194"/>
                    <a:pt x="16941" y="6448"/>
                  </a:cubicBezTo>
                  <a:lnTo>
                    <a:pt x="17110" y="6511"/>
                  </a:lnTo>
                  <a:cubicBezTo>
                    <a:pt x="21023" y="8119"/>
                    <a:pt x="23582" y="11947"/>
                    <a:pt x="23582" y="16176"/>
                  </a:cubicBezTo>
                  <a:cubicBezTo>
                    <a:pt x="23582" y="20364"/>
                    <a:pt x="20409" y="23854"/>
                    <a:pt x="16264" y="24255"/>
                  </a:cubicBezTo>
                  <a:lnTo>
                    <a:pt x="15841" y="24298"/>
                  </a:lnTo>
                  <a:lnTo>
                    <a:pt x="15629" y="24657"/>
                  </a:lnTo>
                  <a:cubicBezTo>
                    <a:pt x="15545" y="24848"/>
                    <a:pt x="15397" y="25017"/>
                    <a:pt x="15249" y="25165"/>
                  </a:cubicBezTo>
                  <a:cubicBezTo>
                    <a:pt x="15164" y="25249"/>
                    <a:pt x="15058" y="25313"/>
                    <a:pt x="14953" y="25355"/>
                  </a:cubicBezTo>
                  <a:lnTo>
                    <a:pt x="14868" y="25080"/>
                  </a:lnTo>
                  <a:lnTo>
                    <a:pt x="14889" y="24298"/>
                  </a:lnTo>
                  <a:lnTo>
                    <a:pt x="9475" y="24298"/>
                  </a:lnTo>
                  <a:lnTo>
                    <a:pt x="10131" y="25355"/>
                  </a:lnTo>
                  <a:cubicBezTo>
                    <a:pt x="10035" y="25376"/>
                    <a:pt x="9940" y="25387"/>
                    <a:pt x="9842" y="25387"/>
                  </a:cubicBezTo>
                  <a:cubicBezTo>
                    <a:pt x="9745" y="25387"/>
                    <a:pt x="9644" y="25376"/>
                    <a:pt x="9538" y="25355"/>
                  </a:cubicBezTo>
                  <a:cubicBezTo>
                    <a:pt x="9031" y="25228"/>
                    <a:pt x="8587" y="24890"/>
                    <a:pt x="8333" y="24446"/>
                  </a:cubicBezTo>
                  <a:lnTo>
                    <a:pt x="8143" y="24150"/>
                  </a:lnTo>
                  <a:lnTo>
                    <a:pt x="7825" y="24065"/>
                  </a:lnTo>
                  <a:cubicBezTo>
                    <a:pt x="4166" y="23198"/>
                    <a:pt x="1586" y="19941"/>
                    <a:pt x="1607" y="16176"/>
                  </a:cubicBezTo>
                  <a:cubicBezTo>
                    <a:pt x="1629" y="11968"/>
                    <a:pt x="4209" y="8203"/>
                    <a:pt x="8121" y="6680"/>
                  </a:cubicBezTo>
                  <a:lnTo>
                    <a:pt x="8967" y="6363"/>
                  </a:lnTo>
                  <a:cubicBezTo>
                    <a:pt x="9137" y="6300"/>
                    <a:pt x="9306" y="6236"/>
                    <a:pt x="9475" y="6173"/>
                  </a:cubicBezTo>
                  <a:lnTo>
                    <a:pt x="12372" y="5200"/>
                  </a:lnTo>
                  <a:lnTo>
                    <a:pt x="9348" y="4650"/>
                  </a:lnTo>
                  <a:cubicBezTo>
                    <a:pt x="8650" y="4544"/>
                    <a:pt x="7973" y="4312"/>
                    <a:pt x="7318" y="3994"/>
                  </a:cubicBezTo>
                  <a:cubicBezTo>
                    <a:pt x="6556" y="3593"/>
                    <a:pt x="6028" y="2937"/>
                    <a:pt x="5922" y="2281"/>
                  </a:cubicBezTo>
                  <a:cubicBezTo>
                    <a:pt x="5837" y="2049"/>
                    <a:pt x="5901" y="1795"/>
                    <a:pt x="6070" y="1605"/>
                  </a:cubicBezTo>
                  <a:cubicBezTo>
                    <a:pt x="6091" y="1605"/>
                    <a:pt x="6133" y="1583"/>
                    <a:pt x="6154" y="1583"/>
                  </a:cubicBezTo>
                  <a:close/>
                  <a:moveTo>
                    <a:pt x="6136" y="1"/>
                  </a:moveTo>
                  <a:cubicBezTo>
                    <a:pt x="5854" y="1"/>
                    <a:pt x="5572" y="64"/>
                    <a:pt x="5309" y="209"/>
                  </a:cubicBezTo>
                  <a:cubicBezTo>
                    <a:pt x="4441" y="695"/>
                    <a:pt x="4209" y="1731"/>
                    <a:pt x="4357" y="2556"/>
                  </a:cubicBezTo>
                  <a:cubicBezTo>
                    <a:pt x="4547" y="3719"/>
                    <a:pt x="5372" y="4756"/>
                    <a:pt x="6577" y="5390"/>
                  </a:cubicBezTo>
                  <a:cubicBezTo>
                    <a:pt x="6641" y="5433"/>
                    <a:pt x="6726" y="5475"/>
                    <a:pt x="6810" y="5517"/>
                  </a:cubicBezTo>
                  <a:cubicBezTo>
                    <a:pt x="2686" y="7463"/>
                    <a:pt x="42" y="11608"/>
                    <a:pt x="21" y="16176"/>
                  </a:cubicBezTo>
                  <a:cubicBezTo>
                    <a:pt x="0" y="20554"/>
                    <a:pt x="2940" y="24382"/>
                    <a:pt x="7170" y="25524"/>
                  </a:cubicBezTo>
                  <a:cubicBezTo>
                    <a:pt x="7656" y="26201"/>
                    <a:pt x="8375" y="26688"/>
                    <a:pt x="9179" y="26899"/>
                  </a:cubicBezTo>
                  <a:cubicBezTo>
                    <a:pt x="9359" y="26944"/>
                    <a:pt x="9586" y="26974"/>
                    <a:pt x="9832" y="26974"/>
                  </a:cubicBezTo>
                  <a:cubicBezTo>
                    <a:pt x="10393" y="26974"/>
                    <a:pt x="11051" y="26820"/>
                    <a:pt x="11463" y="26349"/>
                  </a:cubicBezTo>
                  <a:cubicBezTo>
                    <a:pt x="11569" y="26222"/>
                    <a:pt x="11675" y="26053"/>
                    <a:pt x="11717" y="25884"/>
                  </a:cubicBezTo>
                  <a:lnTo>
                    <a:pt x="13303" y="25884"/>
                  </a:lnTo>
                  <a:cubicBezTo>
                    <a:pt x="13430" y="26349"/>
                    <a:pt x="13789" y="26751"/>
                    <a:pt x="14255" y="26899"/>
                  </a:cubicBezTo>
                  <a:cubicBezTo>
                    <a:pt x="14403" y="26963"/>
                    <a:pt x="14593" y="26984"/>
                    <a:pt x="14762" y="26984"/>
                  </a:cubicBezTo>
                  <a:cubicBezTo>
                    <a:pt x="15333" y="26963"/>
                    <a:pt x="15883" y="26730"/>
                    <a:pt x="16306" y="26349"/>
                  </a:cubicBezTo>
                  <a:cubicBezTo>
                    <a:pt x="16497" y="26180"/>
                    <a:pt x="16666" y="25990"/>
                    <a:pt x="16814" y="25778"/>
                  </a:cubicBezTo>
                  <a:cubicBezTo>
                    <a:pt x="21615" y="25123"/>
                    <a:pt x="25189" y="21020"/>
                    <a:pt x="25168" y="16176"/>
                  </a:cubicBezTo>
                  <a:cubicBezTo>
                    <a:pt x="25168" y="11312"/>
                    <a:pt x="22249" y="6913"/>
                    <a:pt x="17744" y="5052"/>
                  </a:cubicBezTo>
                  <a:lnTo>
                    <a:pt x="17554" y="4967"/>
                  </a:lnTo>
                  <a:cubicBezTo>
                    <a:pt x="16962" y="4735"/>
                    <a:pt x="16370" y="4544"/>
                    <a:pt x="15756" y="4396"/>
                  </a:cubicBezTo>
                  <a:cubicBezTo>
                    <a:pt x="15629" y="4142"/>
                    <a:pt x="15524" y="3867"/>
                    <a:pt x="15481" y="3593"/>
                  </a:cubicBezTo>
                  <a:cubicBezTo>
                    <a:pt x="15439" y="3318"/>
                    <a:pt x="15249" y="2662"/>
                    <a:pt x="14720" y="2366"/>
                  </a:cubicBezTo>
                  <a:cubicBezTo>
                    <a:pt x="14555" y="2283"/>
                    <a:pt x="14377" y="2240"/>
                    <a:pt x="14200" y="2240"/>
                  </a:cubicBezTo>
                  <a:cubicBezTo>
                    <a:pt x="14060" y="2240"/>
                    <a:pt x="13920" y="2267"/>
                    <a:pt x="13789" y="2324"/>
                  </a:cubicBezTo>
                  <a:cubicBezTo>
                    <a:pt x="13493" y="2472"/>
                    <a:pt x="13261" y="2704"/>
                    <a:pt x="13155" y="3000"/>
                  </a:cubicBezTo>
                  <a:cubicBezTo>
                    <a:pt x="13092" y="3106"/>
                    <a:pt x="13049" y="3233"/>
                    <a:pt x="12986" y="3339"/>
                  </a:cubicBezTo>
                  <a:cubicBezTo>
                    <a:pt x="12838" y="3148"/>
                    <a:pt x="12732" y="2916"/>
                    <a:pt x="12669" y="2683"/>
                  </a:cubicBezTo>
                  <a:cubicBezTo>
                    <a:pt x="12647" y="2556"/>
                    <a:pt x="12626" y="2450"/>
                    <a:pt x="12626" y="2324"/>
                  </a:cubicBezTo>
                  <a:cubicBezTo>
                    <a:pt x="12584" y="2049"/>
                    <a:pt x="12520" y="1795"/>
                    <a:pt x="12436" y="1520"/>
                  </a:cubicBezTo>
                  <a:cubicBezTo>
                    <a:pt x="12238" y="737"/>
                    <a:pt x="11602" y="362"/>
                    <a:pt x="10964" y="362"/>
                  </a:cubicBezTo>
                  <a:cubicBezTo>
                    <a:pt x="10240" y="362"/>
                    <a:pt x="9513" y="843"/>
                    <a:pt x="9412" y="1753"/>
                  </a:cubicBezTo>
                  <a:cubicBezTo>
                    <a:pt x="9369" y="2028"/>
                    <a:pt x="9348" y="2302"/>
                    <a:pt x="9348" y="2577"/>
                  </a:cubicBezTo>
                  <a:lnTo>
                    <a:pt x="9348" y="2662"/>
                  </a:lnTo>
                  <a:cubicBezTo>
                    <a:pt x="9179" y="2535"/>
                    <a:pt x="9010" y="2387"/>
                    <a:pt x="8883" y="2197"/>
                  </a:cubicBezTo>
                  <a:cubicBezTo>
                    <a:pt x="8798" y="2070"/>
                    <a:pt x="8692" y="1901"/>
                    <a:pt x="8587" y="1753"/>
                  </a:cubicBezTo>
                  <a:cubicBezTo>
                    <a:pt x="8354" y="1372"/>
                    <a:pt x="8100" y="1033"/>
                    <a:pt x="7804" y="716"/>
                  </a:cubicBezTo>
                  <a:cubicBezTo>
                    <a:pt x="7382" y="308"/>
                    <a:pt x="6759" y="1"/>
                    <a:pt x="613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1" name="Google Shape;1251;p35"/>
            <p:cNvSpPr/>
            <p:nvPr/>
          </p:nvSpPr>
          <p:spPr>
            <a:xfrm rot="683019">
              <a:off x="8312030" y="3939975"/>
              <a:ext cx="438699" cy="217744"/>
            </a:xfrm>
            <a:custGeom>
              <a:avLst/>
              <a:gdLst/>
              <a:ahLst/>
              <a:cxnLst/>
              <a:rect l="l" t="t" r="r" b="b"/>
              <a:pathLst>
                <a:path w="11993" h="5953" extrusionOk="0">
                  <a:moveTo>
                    <a:pt x="1112" y="1"/>
                  </a:moveTo>
                  <a:cubicBezTo>
                    <a:pt x="953" y="1"/>
                    <a:pt x="797" y="36"/>
                    <a:pt x="656" y="116"/>
                  </a:cubicBezTo>
                  <a:cubicBezTo>
                    <a:pt x="149" y="391"/>
                    <a:pt x="1" y="1067"/>
                    <a:pt x="106" y="1638"/>
                  </a:cubicBezTo>
                  <a:cubicBezTo>
                    <a:pt x="276" y="2632"/>
                    <a:pt x="1037" y="3436"/>
                    <a:pt x="1925" y="3901"/>
                  </a:cubicBezTo>
                  <a:cubicBezTo>
                    <a:pt x="2792" y="4388"/>
                    <a:pt x="3807" y="4578"/>
                    <a:pt x="4801" y="4747"/>
                  </a:cubicBezTo>
                  <a:lnTo>
                    <a:pt x="11992" y="5953"/>
                  </a:lnTo>
                  <a:cubicBezTo>
                    <a:pt x="10787" y="5382"/>
                    <a:pt x="9920" y="4261"/>
                    <a:pt x="9666" y="2950"/>
                  </a:cubicBezTo>
                  <a:cubicBezTo>
                    <a:pt x="9592" y="2654"/>
                    <a:pt x="9437" y="2246"/>
                    <a:pt x="9174" y="2246"/>
                  </a:cubicBezTo>
                  <a:cubicBezTo>
                    <a:pt x="9136" y="2246"/>
                    <a:pt x="9095" y="2254"/>
                    <a:pt x="9053" y="2273"/>
                  </a:cubicBezTo>
                  <a:cubicBezTo>
                    <a:pt x="8947" y="2336"/>
                    <a:pt x="8862" y="2442"/>
                    <a:pt x="8820" y="2548"/>
                  </a:cubicBezTo>
                  <a:cubicBezTo>
                    <a:pt x="8630" y="2950"/>
                    <a:pt x="8460" y="3373"/>
                    <a:pt x="8312" y="3796"/>
                  </a:cubicBezTo>
                  <a:cubicBezTo>
                    <a:pt x="7572" y="3478"/>
                    <a:pt x="7043" y="2844"/>
                    <a:pt x="6853" y="2061"/>
                  </a:cubicBezTo>
                  <a:cubicBezTo>
                    <a:pt x="6811" y="1702"/>
                    <a:pt x="6747" y="1363"/>
                    <a:pt x="6663" y="1004"/>
                  </a:cubicBezTo>
                  <a:cubicBezTo>
                    <a:pt x="6557" y="644"/>
                    <a:pt x="6240" y="391"/>
                    <a:pt x="5880" y="369"/>
                  </a:cubicBezTo>
                  <a:cubicBezTo>
                    <a:pt x="5499" y="391"/>
                    <a:pt x="5224" y="750"/>
                    <a:pt x="5161" y="1131"/>
                  </a:cubicBezTo>
                  <a:cubicBezTo>
                    <a:pt x="5119" y="1490"/>
                    <a:pt x="5098" y="1871"/>
                    <a:pt x="5098" y="2252"/>
                  </a:cubicBezTo>
                  <a:cubicBezTo>
                    <a:pt x="5098" y="2421"/>
                    <a:pt x="5013" y="2590"/>
                    <a:pt x="4865" y="2696"/>
                  </a:cubicBezTo>
                  <a:cubicBezTo>
                    <a:pt x="4801" y="2738"/>
                    <a:pt x="4696" y="2759"/>
                    <a:pt x="4611" y="2759"/>
                  </a:cubicBezTo>
                  <a:cubicBezTo>
                    <a:pt x="4040" y="2759"/>
                    <a:pt x="3554" y="2336"/>
                    <a:pt x="3215" y="1892"/>
                  </a:cubicBezTo>
                  <a:cubicBezTo>
                    <a:pt x="2877" y="1427"/>
                    <a:pt x="2623" y="898"/>
                    <a:pt x="2200" y="496"/>
                  </a:cubicBezTo>
                  <a:cubicBezTo>
                    <a:pt x="1915" y="211"/>
                    <a:pt x="1502" y="1"/>
                    <a:pt x="1112" y="1"/>
                  </a:cubicBezTo>
                  <a:close/>
                </a:path>
              </a:pathLst>
            </a:custGeom>
            <a:solidFill>
              <a:srgbClr val="CE5959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2" name="Google Shape;1252;p35"/>
            <p:cNvSpPr/>
            <p:nvPr/>
          </p:nvSpPr>
          <p:spPr>
            <a:xfrm rot="683019">
              <a:off x="8075374" y="4091209"/>
              <a:ext cx="861889" cy="740395"/>
            </a:xfrm>
            <a:custGeom>
              <a:avLst/>
              <a:gdLst/>
              <a:ahLst/>
              <a:cxnLst/>
              <a:rect l="l" t="t" r="r" b="b"/>
              <a:pathLst>
                <a:path w="23562" h="20242" extrusionOk="0">
                  <a:moveTo>
                    <a:pt x="12025" y="1"/>
                  </a:moveTo>
                  <a:cubicBezTo>
                    <a:pt x="10613" y="1"/>
                    <a:pt x="9203" y="260"/>
                    <a:pt x="7868" y="784"/>
                  </a:cubicBezTo>
                  <a:lnTo>
                    <a:pt x="7022" y="1101"/>
                  </a:lnTo>
                  <a:cubicBezTo>
                    <a:pt x="2792" y="2730"/>
                    <a:pt x="1" y="6811"/>
                    <a:pt x="1" y="11337"/>
                  </a:cubicBezTo>
                  <a:cubicBezTo>
                    <a:pt x="1" y="16265"/>
                    <a:pt x="3998" y="20241"/>
                    <a:pt x="8926" y="20241"/>
                  </a:cubicBezTo>
                  <a:lnTo>
                    <a:pt x="14657" y="20241"/>
                  </a:lnTo>
                  <a:cubicBezTo>
                    <a:pt x="19585" y="20241"/>
                    <a:pt x="23561" y="16265"/>
                    <a:pt x="23561" y="11337"/>
                  </a:cubicBezTo>
                  <a:cubicBezTo>
                    <a:pt x="23561" y="6790"/>
                    <a:pt x="20833" y="2687"/>
                    <a:pt x="16624" y="953"/>
                  </a:cubicBezTo>
                  <a:lnTo>
                    <a:pt x="16434" y="869"/>
                  </a:lnTo>
                  <a:cubicBezTo>
                    <a:pt x="15019" y="292"/>
                    <a:pt x="13521" y="1"/>
                    <a:pt x="12025" y="1"/>
                  </a:cubicBezTo>
                  <a:close/>
                </a:path>
              </a:pathLst>
            </a:custGeom>
            <a:solidFill>
              <a:srgbClr val="F1CD5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3" name="Google Shape;1253;p35"/>
            <p:cNvSpPr/>
            <p:nvPr/>
          </p:nvSpPr>
          <p:spPr>
            <a:xfrm rot="683019">
              <a:off x="8460894" y="4336799"/>
              <a:ext cx="112190" cy="147004"/>
            </a:xfrm>
            <a:custGeom>
              <a:avLst/>
              <a:gdLst/>
              <a:ahLst/>
              <a:cxnLst/>
              <a:rect l="l" t="t" r="r" b="b"/>
              <a:pathLst>
                <a:path w="3067" h="4019" extrusionOk="0">
                  <a:moveTo>
                    <a:pt x="1523" y="1"/>
                  </a:moveTo>
                  <a:cubicBezTo>
                    <a:pt x="677" y="1"/>
                    <a:pt x="0" y="699"/>
                    <a:pt x="0" y="1544"/>
                  </a:cubicBezTo>
                  <a:cubicBezTo>
                    <a:pt x="0" y="2369"/>
                    <a:pt x="677" y="4019"/>
                    <a:pt x="1523" y="4019"/>
                  </a:cubicBezTo>
                  <a:cubicBezTo>
                    <a:pt x="2369" y="4019"/>
                    <a:pt x="3067" y="2369"/>
                    <a:pt x="3067" y="1544"/>
                  </a:cubicBezTo>
                  <a:cubicBezTo>
                    <a:pt x="3067" y="699"/>
                    <a:pt x="2369" y="1"/>
                    <a:pt x="1523" y="1"/>
                  </a:cubicBezTo>
                  <a:close/>
                </a:path>
              </a:pathLst>
            </a:custGeom>
            <a:solidFill>
              <a:srgbClr val="DB8D43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4" name="Google Shape;1254;p35"/>
            <p:cNvSpPr/>
            <p:nvPr/>
          </p:nvSpPr>
          <p:spPr>
            <a:xfrm rot="683019">
              <a:off x="8464403" y="4335612"/>
              <a:ext cx="112190" cy="114523"/>
            </a:xfrm>
            <a:custGeom>
              <a:avLst/>
              <a:gdLst/>
              <a:ahLst/>
              <a:cxnLst/>
              <a:rect l="l" t="t" r="r" b="b"/>
              <a:pathLst>
                <a:path w="3067" h="3131" extrusionOk="0">
                  <a:moveTo>
                    <a:pt x="1523" y="0"/>
                  </a:moveTo>
                  <a:cubicBezTo>
                    <a:pt x="677" y="0"/>
                    <a:pt x="0" y="719"/>
                    <a:pt x="0" y="1333"/>
                  </a:cubicBezTo>
                  <a:cubicBezTo>
                    <a:pt x="0" y="1946"/>
                    <a:pt x="677" y="3130"/>
                    <a:pt x="1523" y="3130"/>
                  </a:cubicBezTo>
                  <a:cubicBezTo>
                    <a:pt x="2369" y="3130"/>
                    <a:pt x="3067" y="1946"/>
                    <a:pt x="3067" y="1333"/>
                  </a:cubicBezTo>
                  <a:cubicBezTo>
                    <a:pt x="3067" y="719"/>
                    <a:pt x="2369" y="0"/>
                    <a:pt x="1523" y="0"/>
                  </a:cubicBezTo>
                  <a:close/>
                </a:path>
              </a:pathLst>
            </a:custGeom>
            <a:solidFill>
              <a:srgbClr val="E79A4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5" name="Google Shape;1255;p35"/>
            <p:cNvSpPr/>
            <p:nvPr/>
          </p:nvSpPr>
          <p:spPr>
            <a:xfrm rot="683019">
              <a:off x="8306428" y="4208657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26" y="1"/>
                    <a:pt x="1" y="847"/>
                    <a:pt x="1" y="1883"/>
                  </a:cubicBezTo>
                  <a:cubicBezTo>
                    <a:pt x="1" y="2919"/>
                    <a:pt x="826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rgbClr val="434038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6" name="Google Shape;1256;p35"/>
            <p:cNvSpPr/>
            <p:nvPr/>
          </p:nvSpPr>
          <p:spPr>
            <a:xfrm rot="683019">
              <a:off x="8631022" y="4274014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47" y="1"/>
                    <a:pt x="1" y="847"/>
                    <a:pt x="1" y="1883"/>
                  </a:cubicBezTo>
                  <a:cubicBezTo>
                    <a:pt x="1" y="2919"/>
                    <a:pt x="847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rgbClr val="434038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7" name="Google Shape;1257;p35"/>
            <p:cNvSpPr/>
            <p:nvPr/>
          </p:nvSpPr>
          <p:spPr>
            <a:xfrm rot="683019">
              <a:off x="8378072" y="4240893"/>
              <a:ext cx="41042" cy="41040"/>
            </a:xfrm>
            <a:custGeom>
              <a:avLst/>
              <a:gdLst/>
              <a:ahLst/>
              <a:cxnLst/>
              <a:rect l="l" t="t" r="r" b="b"/>
              <a:pathLst>
                <a:path w="1122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68" y="1121"/>
                    <a:pt x="1122" y="867"/>
                    <a:pt x="1122" y="550"/>
                  </a:cubicBezTo>
                  <a:cubicBezTo>
                    <a:pt x="1122" y="233"/>
                    <a:pt x="868" y="0"/>
                    <a:pt x="572" y="0"/>
                  </a:cubicBezTo>
                  <a:close/>
                </a:path>
              </a:pathLst>
            </a:custGeom>
            <a:solidFill>
              <a:srgbClr val="EDE6DD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8" name="Google Shape;1258;p35"/>
            <p:cNvSpPr/>
            <p:nvPr/>
          </p:nvSpPr>
          <p:spPr>
            <a:xfrm rot="683019">
              <a:off x="8712520" y="4308311"/>
              <a:ext cx="41810" cy="41040"/>
            </a:xfrm>
            <a:custGeom>
              <a:avLst/>
              <a:gdLst/>
              <a:ahLst/>
              <a:cxnLst/>
              <a:rect l="l" t="t" r="r" b="b"/>
              <a:pathLst>
                <a:path w="1143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89" y="1121"/>
                    <a:pt x="1143" y="867"/>
                    <a:pt x="1143" y="550"/>
                  </a:cubicBezTo>
                  <a:cubicBezTo>
                    <a:pt x="1143" y="233"/>
                    <a:pt x="889" y="0"/>
                    <a:pt x="572" y="0"/>
                  </a:cubicBezTo>
                  <a:close/>
                </a:path>
              </a:pathLst>
            </a:custGeom>
            <a:solidFill>
              <a:srgbClr val="EDE6DD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9" name="Google Shape;1259;p35"/>
            <p:cNvSpPr/>
            <p:nvPr/>
          </p:nvSpPr>
          <p:spPr>
            <a:xfrm rot="683019">
              <a:off x="8216749" y="4466629"/>
              <a:ext cx="100631" cy="84932"/>
            </a:xfrm>
            <a:custGeom>
              <a:avLst/>
              <a:gdLst/>
              <a:ahLst/>
              <a:cxnLst/>
              <a:rect l="l" t="t" r="r" b="b"/>
              <a:pathLst>
                <a:path w="2751" h="2322" extrusionOk="0">
                  <a:moveTo>
                    <a:pt x="1689" y="0"/>
                  </a:moveTo>
                  <a:cubicBezTo>
                    <a:pt x="1437" y="0"/>
                    <a:pt x="1176" y="274"/>
                    <a:pt x="1354" y="528"/>
                  </a:cubicBezTo>
                  <a:cubicBezTo>
                    <a:pt x="1523" y="760"/>
                    <a:pt x="1650" y="1014"/>
                    <a:pt x="1714" y="1310"/>
                  </a:cubicBezTo>
                  <a:cubicBezTo>
                    <a:pt x="1753" y="1621"/>
                    <a:pt x="1720" y="1736"/>
                    <a:pt x="1435" y="1736"/>
                  </a:cubicBezTo>
                  <a:cubicBezTo>
                    <a:pt x="1410" y="1736"/>
                    <a:pt x="1383" y="1735"/>
                    <a:pt x="1354" y="1733"/>
                  </a:cubicBezTo>
                  <a:cubicBezTo>
                    <a:pt x="868" y="1648"/>
                    <a:pt x="424" y="1458"/>
                    <a:pt x="22" y="1162"/>
                  </a:cubicBezTo>
                  <a:cubicBezTo>
                    <a:pt x="22" y="1162"/>
                    <a:pt x="1" y="1162"/>
                    <a:pt x="1" y="1204"/>
                  </a:cubicBezTo>
                  <a:cubicBezTo>
                    <a:pt x="230" y="1798"/>
                    <a:pt x="911" y="2322"/>
                    <a:pt x="1602" y="2322"/>
                  </a:cubicBezTo>
                  <a:cubicBezTo>
                    <a:pt x="1675" y="2322"/>
                    <a:pt x="1747" y="2316"/>
                    <a:pt x="1820" y="2304"/>
                  </a:cubicBezTo>
                  <a:cubicBezTo>
                    <a:pt x="2750" y="2135"/>
                    <a:pt x="2285" y="676"/>
                    <a:pt x="1968" y="168"/>
                  </a:cubicBezTo>
                  <a:cubicBezTo>
                    <a:pt x="1899" y="49"/>
                    <a:pt x="1795" y="0"/>
                    <a:pt x="1689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0" name="Google Shape;1260;p35"/>
            <p:cNvSpPr/>
            <p:nvPr/>
          </p:nvSpPr>
          <p:spPr>
            <a:xfrm rot="683019">
              <a:off x="8660691" y="4529045"/>
              <a:ext cx="123127" cy="75422"/>
            </a:xfrm>
            <a:custGeom>
              <a:avLst/>
              <a:gdLst/>
              <a:ahLst/>
              <a:cxnLst/>
              <a:rect l="l" t="t" r="r" b="b"/>
              <a:pathLst>
                <a:path w="3366" h="2062" extrusionOk="0">
                  <a:moveTo>
                    <a:pt x="890" y="1"/>
                  </a:moveTo>
                  <a:cubicBezTo>
                    <a:pt x="849" y="1"/>
                    <a:pt x="808" y="20"/>
                    <a:pt x="783" y="61"/>
                  </a:cubicBezTo>
                  <a:lnTo>
                    <a:pt x="805" y="61"/>
                  </a:lnTo>
                  <a:cubicBezTo>
                    <a:pt x="572" y="568"/>
                    <a:pt x="1" y="1478"/>
                    <a:pt x="635" y="1901"/>
                  </a:cubicBezTo>
                  <a:cubicBezTo>
                    <a:pt x="805" y="2016"/>
                    <a:pt x="1006" y="2061"/>
                    <a:pt x="1221" y="2061"/>
                  </a:cubicBezTo>
                  <a:cubicBezTo>
                    <a:pt x="1837" y="2061"/>
                    <a:pt x="2571" y="1687"/>
                    <a:pt x="3025" y="1499"/>
                  </a:cubicBezTo>
                  <a:cubicBezTo>
                    <a:pt x="3366" y="1367"/>
                    <a:pt x="3267" y="863"/>
                    <a:pt x="2970" y="863"/>
                  </a:cubicBezTo>
                  <a:cubicBezTo>
                    <a:pt x="2935" y="863"/>
                    <a:pt x="2897" y="870"/>
                    <a:pt x="2856" y="886"/>
                  </a:cubicBezTo>
                  <a:cubicBezTo>
                    <a:pt x="2327" y="1097"/>
                    <a:pt x="1799" y="1266"/>
                    <a:pt x="1249" y="1414"/>
                  </a:cubicBezTo>
                  <a:cubicBezTo>
                    <a:pt x="1195" y="1428"/>
                    <a:pt x="1149" y="1434"/>
                    <a:pt x="1110" y="1434"/>
                  </a:cubicBezTo>
                  <a:cubicBezTo>
                    <a:pt x="842" y="1434"/>
                    <a:pt x="895" y="1141"/>
                    <a:pt x="932" y="864"/>
                  </a:cubicBezTo>
                  <a:cubicBezTo>
                    <a:pt x="974" y="632"/>
                    <a:pt x="995" y="378"/>
                    <a:pt x="1016" y="124"/>
                  </a:cubicBezTo>
                  <a:cubicBezTo>
                    <a:pt x="1016" y="47"/>
                    <a:pt x="953" y="1"/>
                    <a:pt x="890" y="1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1" name="Google Shape;1261;p35"/>
            <p:cNvSpPr/>
            <p:nvPr/>
          </p:nvSpPr>
          <p:spPr>
            <a:xfrm rot="683019">
              <a:off x="8253056" y="4739432"/>
              <a:ext cx="119945" cy="90126"/>
            </a:xfrm>
            <a:custGeom>
              <a:avLst/>
              <a:gdLst/>
              <a:ahLst/>
              <a:cxnLst/>
              <a:rect l="l" t="t" r="r" b="b"/>
              <a:pathLst>
                <a:path w="3279" h="2464" extrusionOk="0">
                  <a:moveTo>
                    <a:pt x="544" y="1"/>
                  </a:moveTo>
                  <a:cubicBezTo>
                    <a:pt x="439" y="1"/>
                    <a:pt x="331" y="29"/>
                    <a:pt x="233" y="85"/>
                  </a:cubicBezTo>
                  <a:cubicBezTo>
                    <a:pt x="0" y="233"/>
                    <a:pt x="42" y="572"/>
                    <a:pt x="148" y="825"/>
                  </a:cubicBezTo>
                  <a:cubicBezTo>
                    <a:pt x="465" y="1629"/>
                    <a:pt x="1163" y="2221"/>
                    <a:pt x="1988" y="2412"/>
                  </a:cubicBezTo>
                  <a:cubicBezTo>
                    <a:pt x="2103" y="2447"/>
                    <a:pt x="2221" y="2464"/>
                    <a:pt x="2340" y="2464"/>
                  </a:cubicBezTo>
                  <a:cubicBezTo>
                    <a:pt x="2507" y="2464"/>
                    <a:pt x="2674" y="2431"/>
                    <a:pt x="2834" y="2369"/>
                  </a:cubicBezTo>
                  <a:cubicBezTo>
                    <a:pt x="3088" y="2264"/>
                    <a:pt x="3278" y="1989"/>
                    <a:pt x="3257" y="1714"/>
                  </a:cubicBezTo>
                  <a:lnTo>
                    <a:pt x="3194" y="1460"/>
                  </a:lnTo>
                  <a:cubicBezTo>
                    <a:pt x="2559" y="699"/>
                    <a:pt x="1671" y="191"/>
                    <a:pt x="698" y="22"/>
                  </a:cubicBezTo>
                  <a:cubicBezTo>
                    <a:pt x="649" y="8"/>
                    <a:pt x="597" y="1"/>
                    <a:pt x="544" y="1"/>
                  </a:cubicBezTo>
                  <a:close/>
                </a:path>
              </a:pathLst>
            </a:custGeom>
            <a:solidFill>
              <a:srgbClr val="F1CD5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2" name="Google Shape;1262;p35"/>
            <p:cNvSpPr/>
            <p:nvPr/>
          </p:nvSpPr>
          <p:spPr>
            <a:xfrm rot="683019">
              <a:off x="8239867" y="4732479"/>
              <a:ext cx="148550" cy="107427"/>
            </a:xfrm>
            <a:custGeom>
              <a:avLst/>
              <a:gdLst/>
              <a:ahLst/>
              <a:cxnLst/>
              <a:rect l="l" t="t" r="r" b="b"/>
              <a:pathLst>
                <a:path w="4061" h="2937" extrusionOk="0">
                  <a:moveTo>
                    <a:pt x="938" y="0"/>
                  </a:moveTo>
                  <a:cubicBezTo>
                    <a:pt x="333" y="0"/>
                    <a:pt x="0" y="458"/>
                    <a:pt x="267" y="1171"/>
                  </a:cubicBezTo>
                  <a:cubicBezTo>
                    <a:pt x="606" y="2017"/>
                    <a:pt x="1304" y="2672"/>
                    <a:pt x="2192" y="2884"/>
                  </a:cubicBezTo>
                  <a:cubicBezTo>
                    <a:pt x="2329" y="2918"/>
                    <a:pt x="2489" y="2936"/>
                    <a:pt x="2656" y="2936"/>
                  </a:cubicBezTo>
                  <a:cubicBezTo>
                    <a:pt x="3314" y="2936"/>
                    <a:pt x="4061" y="2645"/>
                    <a:pt x="3757" y="1868"/>
                  </a:cubicBezTo>
                  <a:cubicBezTo>
                    <a:pt x="3745" y="1796"/>
                    <a:pt x="3692" y="1758"/>
                    <a:pt x="3637" y="1758"/>
                  </a:cubicBezTo>
                  <a:cubicBezTo>
                    <a:pt x="3595" y="1758"/>
                    <a:pt x="3552" y="1780"/>
                    <a:pt x="3524" y="1826"/>
                  </a:cubicBezTo>
                  <a:cubicBezTo>
                    <a:pt x="3339" y="2186"/>
                    <a:pt x="3035" y="2321"/>
                    <a:pt x="2704" y="2321"/>
                  </a:cubicBezTo>
                  <a:cubicBezTo>
                    <a:pt x="2355" y="2321"/>
                    <a:pt x="1978" y="2170"/>
                    <a:pt x="1684" y="1974"/>
                  </a:cubicBezTo>
                  <a:cubicBezTo>
                    <a:pt x="1346" y="1742"/>
                    <a:pt x="733" y="1255"/>
                    <a:pt x="712" y="790"/>
                  </a:cubicBezTo>
                  <a:cubicBezTo>
                    <a:pt x="696" y="530"/>
                    <a:pt x="855" y="441"/>
                    <a:pt x="1079" y="441"/>
                  </a:cubicBezTo>
                  <a:cubicBezTo>
                    <a:pt x="1473" y="441"/>
                    <a:pt x="2067" y="717"/>
                    <a:pt x="2256" y="811"/>
                  </a:cubicBezTo>
                  <a:cubicBezTo>
                    <a:pt x="2721" y="1065"/>
                    <a:pt x="3144" y="1340"/>
                    <a:pt x="3546" y="1678"/>
                  </a:cubicBezTo>
                  <a:cubicBezTo>
                    <a:pt x="3550" y="1682"/>
                    <a:pt x="3554" y="1684"/>
                    <a:pt x="3559" y="1684"/>
                  </a:cubicBezTo>
                  <a:cubicBezTo>
                    <a:pt x="3581" y="1684"/>
                    <a:pt x="3605" y="1653"/>
                    <a:pt x="3588" y="1636"/>
                  </a:cubicBezTo>
                  <a:cubicBezTo>
                    <a:pt x="3123" y="811"/>
                    <a:pt x="2213" y="282"/>
                    <a:pt x="1304" y="50"/>
                  </a:cubicBezTo>
                  <a:cubicBezTo>
                    <a:pt x="1174" y="16"/>
                    <a:pt x="1051" y="0"/>
                    <a:pt x="938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3" name="Google Shape;1263;p35"/>
            <p:cNvSpPr/>
            <p:nvPr/>
          </p:nvSpPr>
          <p:spPr>
            <a:xfrm rot="683019">
              <a:off x="8493160" y="4751701"/>
              <a:ext cx="87462" cy="122790"/>
            </a:xfrm>
            <a:custGeom>
              <a:avLst/>
              <a:gdLst/>
              <a:ahLst/>
              <a:cxnLst/>
              <a:rect l="l" t="t" r="r" b="b"/>
              <a:pathLst>
                <a:path w="2391" h="3357" extrusionOk="0">
                  <a:moveTo>
                    <a:pt x="1756" y="0"/>
                  </a:moveTo>
                  <a:cubicBezTo>
                    <a:pt x="1587" y="22"/>
                    <a:pt x="1439" y="85"/>
                    <a:pt x="1333" y="212"/>
                  </a:cubicBezTo>
                  <a:cubicBezTo>
                    <a:pt x="593" y="868"/>
                    <a:pt x="128" y="1777"/>
                    <a:pt x="1" y="2771"/>
                  </a:cubicBezTo>
                  <a:lnTo>
                    <a:pt x="85" y="3025"/>
                  </a:lnTo>
                  <a:cubicBezTo>
                    <a:pt x="210" y="3221"/>
                    <a:pt x="425" y="3357"/>
                    <a:pt x="667" y="3357"/>
                  </a:cubicBezTo>
                  <a:cubicBezTo>
                    <a:pt x="712" y="3357"/>
                    <a:pt x="758" y="3352"/>
                    <a:pt x="804" y="3342"/>
                  </a:cubicBezTo>
                  <a:cubicBezTo>
                    <a:pt x="1079" y="3279"/>
                    <a:pt x="1333" y="3130"/>
                    <a:pt x="1523" y="2919"/>
                  </a:cubicBezTo>
                  <a:cubicBezTo>
                    <a:pt x="2137" y="2306"/>
                    <a:pt x="2391" y="1417"/>
                    <a:pt x="2221" y="571"/>
                  </a:cubicBezTo>
                  <a:cubicBezTo>
                    <a:pt x="2179" y="318"/>
                    <a:pt x="2010" y="0"/>
                    <a:pt x="1756" y="0"/>
                  </a:cubicBezTo>
                  <a:close/>
                </a:path>
              </a:pathLst>
            </a:custGeom>
            <a:solidFill>
              <a:srgbClr val="F1CD5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4" name="Google Shape;1264;p35"/>
            <p:cNvSpPr/>
            <p:nvPr/>
          </p:nvSpPr>
          <p:spPr>
            <a:xfrm rot="683019">
              <a:off x="8489714" y="4744832"/>
              <a:ext cx="102130" cy="141078"/>
            </a:xfrm>
            <a:custGeom>
              <a:avLst/>
              <a:gdLst/>
              <a:ahLst/>
              <a:cxnLst/>
              <a:rect l="l" t="t" r="r" b="b"/>
              <a:pathLst>
                <a:path w="2792" h="3857" extrusionOk="0">
                  <a:moveTo>
                    <a:pt x="1835" y="0"/>
                  </a:moveTo>
                  <a:cubicBezTo>
                    <a:pt x="1658" y="0"/>
                    <a:pt x="1464" y="78"/>
                    <a:pt x="1269" y="253"/>
                  </a:cubicBezTo>
                  <a:cubicBezTo>
                    <a:pt x="529" y="929"/>
                    <a:pt x="0" y="1987"/>
                    <a:pt x="64" y="2981"/>
                  </a:cubicBezTo>
                  <a:cubicBezTo>
                    <a:pt x="64" y="3002"/>
                    <a:pt x="79" y="3013"/>
                    <a:pt x="95" y="3013"/>
                  </a:cubicBezTo>
                  <a:cubicBezTo>
                    <a:pt x="111" y="3013"/>
                    <a:pt x="127" y="3002"/>
                    <a:pt x="127" y="2981"/>
                  </a:cubicBezTo>
                  <a:cubicBezTo>
                    <a:pt x="296" y="2452"/>
                    <a:pt x="508" y="1945"/>
                    <a:pt x="783" y="1479"/>
                  </a:cubicBezTo>
                  <a:cubicBezTo>
                    <a:pt x="955" y="1213"/>
                    <a:pt x="1393" y="554"/>
                    <a:pt x="1738" y="554"/>
                  </a:cubicBezTo>
                  <a:cubicBezTo>
                    <a:pt x="1859" y="554"/>
                    <a:pt x="1969" y="636"/>
                    <a:pt x="2052" y="845"/>
                  </a:cubicBezTo>
                  <a:cubicBezTo>
                    <a:pt x="2345" y="1633"/>
                    <a:pt x="1606" y="3231"/>
                    <a:pt x="674" y="3231"/>
                  </a:cubicBezTo>
                  <a:cubicBezTo>
                    <a:pt x="531" y="3231"/>
                    <a:pt x="382" y="3193"/>
                    <a:pt x="233" y="3108"/>
                  </a:cubicBezTo>
                  <a:cubicBezTo>
                    <a:pt x="211" y="3095"/>
                    <a:pt x="188" y="3089"/>
                    <a:pt x="165" y="3089"/>
                  </a:cubicBezTo>
                  <a:cubicBezTo>
                    <a:pt x="81" y="3089"/>
                    <a:pt x="9" y="3172"/>
                    <a:pt x="42" y="3256"/>
                  </a:cubicBezTo>
                  <a:cubicBezTo>
                    <a:pt x="124" y="3693"/>
                    <a:pt x="406" y="3857"/>
                    <a:pt x="733" y="3857"/>
                  </a:cubicBezTo>
                  <a:cubicBezTo>
                    <a:pt x="1086" y="3857"/>
                    <a:pt x="1492" y="3667"/>
                    <a:pt x="1755" y="3425"/>
                  </a:cubicBezTo>
                  <a:cubicBezTo>
                    <a:pt x="2475" y="2769"/>
                    <a:pt x="2792" y="1775"/>
                    <a:pt x="2601" y="803"/>
                  </a:cubicBezTo>
                  <a:cubicBezTo>
                    <a:pt x="2488" y="321"/>
                    <a:pt x="2194" y="0"/>
                    <a:pt x="1835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5" name="Google Shape;1265;p35"/>
            <p:cNvSpPr/>
            <p:nvPr/>
          </p:nvSpPr>
          <p:spPr>
            <a:xfrm rot="683019">
              <a:off x="8090830" y="3935830"/>
              <a:ext cx="861889" cy="929133"/>
            </a:xfrm>
            <a:custGeom>
              <a:avLst/>
              <a:gdLst/>
              <a:ahLst/>
              <a:cxnLst/>
              <a:rect l="l" t="t" r="r" b="b"/>
              <a:pathLst>
                <a:path w="23562" h="25402" extrusionOk="0">
                  <a:moveTo>
                    <a:pt x="5370" y="0"/>
                  </a:moveTo>
                  <a:cubicBezTo>
                    <a:pt x="5203" y="0"/>
                    <a:pt x="5039" y="37"/>
                    <a:pt x="4886" y="120"/>
                  </a:cubicBezTo>
                  <a:cubicBezTo>
                    <a:pt x="4379" y="395"/>
                    <a:pt x="4231" y="1071"/>
                    <a:pt x="4336" y="1621"/>
                  </a:cubicBezTo>
                  <a:cubicBezTo>
                    <a:pt x="4506" y="2615"/>
                    <a:pt x="5267" y="3419"/>
                    <a:pt x="6155" y="3905"/>
                  </a:cubicBezTo>
                  <a:cubicBezTo>
                    <a:pt x="6853" y="4265"/>
                    <a:pt x="7614" y="4497"/>
                    <a:pt x="8418" y="4624"/>
                  </a:cubicBezTo>
                  <a:cubicBezTo>
                    <a:pt x="8228" y="4688"/>
                    <a:pt x="8037" y="4751"/>
                    <a:pt x="7868" y="4815"/>
                  </a:cubicBezTo>
                  <a:lnTo>
                    <a:pt x="7022" y="5153"/>
                  </a:lnTo>
                  <a:cubicBezTo>
                    <a:pt x="2792" y="6782"/>
                    <a:pt x="1" y="10842"/>
                    <a:pt x="1" y="15389"/>
                  </a:cubicBezTo>
                  <a:cubicBezTo>
                    <a:pt x="1" y="19514"/>
                    <a:pt x="2835" y="23088"/>
                    <a:pt x="6832" y="24061"/>
                  </a:cubicBezTo>
                  <a:cubicBezTo>
                    <a:pt x="7213" y="24695"/>
                    <a:pt x="7826" y="25160"/>
                    <a:pt x="8545" y="25351"/>
                  </a:cubicBezTo>
                  <a:cubicBezTo>
                    <a:pt x="8677" y="25384"/>
                    <a:pt x="8831" y="25401"/>
                    <a:pt x="8991" y="25401"/>
                  </a:cubicBezTo>
                  <a:cubicBezTo>
                    <a:pt x="9653" y="25401"/>
                    <a:pt x="10417" y="25098"/>
                    <a:pt x="10110" y="24314"/>
                  </a:cubicBezTo>
                  <a:lnTo>
                    <a:pt x="10110" y="24293"/>
                  </a:lnTo>
                  <a:lnTo>
                    <a:pt x="13283" y="24293"/>
                  </a:lnTo>
                  <a:lnTo>
                    <a:pt x="13283" y="24526"/>
                  </a:lnTo>
                  <a:cubicBezTo>
                    <a:pt x="13283" y="24547"/>
                    <a:pt x="13304" y="24547"/>
                    <a:pt x="13325" y="24547"/>
                  </a:cubicBezTo>
                  <a:lnTo>
                    <a:pt x="13346" y="24653"/>
                  </a:lnTo>
                  <a:cubicBezTo>
                    <a:pt x="13283" y="24674"/>
                    <a:pt x="13240" y="24737"/>
                    <a:pt x="13240" y="24801"/>
                  </a:cubicBezTo>
                  <a:cubicBezTo>
                    <a:pt x="13332" y="25238"/>
                    <a:pt x="13619" y="25402"/>
                    <a:pt x="13949" y="25402"/>
                  </a:cubicBezTo>
                  <a:cubicBezTo>
                    <a:pt x="14305" y="25402"/>
                    <a:pt x="14711" y="25212"/>
                    <a:pt x="14974" y="24970"/>
                  </a:cubicBezTo>
                  <a:cubicBezTo>
                    <a:pt x="15207" y="24759"/>
                    <a:pt x="15397" y="24526"/>
                    <a:pt x="15524" y="24251"/>
                  </a:cubicBezTo>
                  <a:cubicBezTo>
                    <a:pt x="20093" y="23807"/>
                    <a:pt x="23561" y="19979"/>
                    <a:pt x="23561" y="15389"/>
                  </a:cubicBezTo>
                  <a:cubicBezTo>
                    <a:pt x="23561" y="10842"/>
                    <a:pt x="20812" y="6739"/>
                    <a:pt x="16624" y="5005"/>
                  </a:cubicBezTo>
                  <a:lnTo>
                    <a:pt x="16434" y="4920"/>
                  </a:lnTo>
                  <a:cubicBezTo>
                    <a:pt x="15778" y="4646"/>
                    <a:pt x="15101" y="4455"/>
                    <a:pt x="14403" y="4307"/>
                  </a:cubicBezTo>
                  <a:cubicBezTo>
                    <a:pt x="14150" y="3884"/>
                    <a:pt x="13980" y="3440"/>
                    <a:pt x="13896" y="2954"/>
                  </a:cubicBezTo>
                  <a:cubicBezTo>
                    <a:pt x="13840" y="2658"/>
                    <a:pt x="13672" y="2250"/>
                    <a:pt x="13419" y="2250"/>
                  </a:cubicBezTo>
                  <a:cubicBezTo>
                    <a:pt x="13382" y="2250"/>
                    <a:pt x="13344" y="2258"/>
                    <a:pt x="13304" y="2277"/>
                  </a:cubicBezTo>
                  <a:cubicBezTo>
                    <a:pt x="13177" y="2340"/>
                    <a:pt x="13092" y="2446"/>
                    <a:pt x="13050" y="2573"/>
                  </a:cubicBezTo>
                  <a:cubicBezTo>
                    <a:pt x="12860" y="2975"/>
                    <a:pt x="12690" y="3377"/>
                    <a:pt x="12542" y="3800"/>
                  </a:cubicBezTo>
                  <a:cubicBezTo>
                    <a:pt x="11802" y="3482"/>
                    <a:pt x="11273" y="2848"/>
                    <a:pt x="11083" y="2065"/>
                  </a:cubicBezTo>
                  <a:cubicBezTo>
                    <a:pt x="11041" y="1706"/>
                    <a:pt x="10977" y="1346"/>
                    <a:pt x="10893" y="1008"/>
                  </a:cubicBezTo>
                  <a:cubicBezTo>
                    <a:pt x="10787" y="648"/>
                    <a:pt x="10491" y="395"/>
                    <a:pt x="10110" y="373"/>
                  </a:cubicBezTo>
                  <a:cubicBezTo>
                    <a:pt x="9751" y="373"/>
                    <a:pt x="9476" y="754"/>
                    <a:pt x="9391" y="1114"/>
                  </a:cubicBezTo>
                  <a:cubicBezTo>
                    <a:pt x="9349" y="1494"/>
                    <a:pt x="9328" y="1875"/>
                    <a:pt x="9328" y="2256"/>
                  </a:cubicBezTo>
                  <a:cubicBezTo>
                    <a:pt x="9328" y="2425"/>
                    <a:pt x="9243" y="2594"/>
                    <a:pt x="9116" y="2700"/>
                  </a:cubicBezTo>
                  <a:cubicBezTo>
                    <a:pt x="9031" y="2742"/>
                    <a:pt x="8926" y="2763"/>
                    <a:pt x="8841" y="2763"/>
                  </a:cubicBezTo>
                  <a:cubicBezTo>
                    <a:pt x="8270" y="2763"/>
                    <a:pt x="7784" y="2340"/>
                    <a:pt x="7445" y="1875"/>
                  </a:cubicBezTo>
                  <a:cubicBezTo>
                    <a:pt x="7107" y="1410"/>
                    <a:pt x="6853" y="881"/>
                    <a:pt x="6451" y="479"/>
                  </a:cubicBezTo>
                  <a:cubicBezTo>
                    <a:pt x="6156" y="198"/>
                    <a:pt x="5757" y="0"/>
                    <a:pt x="5370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6" name="Google Shape;1266;p35"/>
            <p:cNvSpPr/>
            <p:nvPr/>
          </p:nvSpPr>
          <p:spPr>
            <a:xfrm rot="683019">
              <a:off x="8061421" y="3907117"/>
              <a:ext cx="921404" cy="986998"/>
            </a:xfrm>
            <a:custGeom>
              <a:avLst/>
              <a:gdLst/>
              <a:ahLst/>
              <a:cxnLst/>
              <a:rect l="l" t="t" r="r" b="b"/>
              <a:pathLst>
                <a:path w="25189" h="26984" extrusionOk="0">
                  <a:moveTo>
                    <a:pt x="6154" y="1583"/>
                  </a:moveTo>
                  <a:cubicBezTo>
                    <a:pt x="6366" y="1605"/>
                    <a:pt x="6556" y="1710"/>
                    <a:pt x="6683" y="1858"/>
                  </a:cubicBezTo>
                  <a:cubicBezTo>
                    <a:pt x="6895" y="2070"/>
                    <a:pt x="7085" y="2324"/>
                    <a:pt x="7233" y="2599"/>
                  </a:cubicBezTo>
                  <a:cubicBezTo>
                    <a:pt x="7360" y="2768"/>
                    <a:pt x="7466" y="2958"/>
                    <a:pt x="7614" y="3148"/>
                  </a:cubicBezTo>
                  <a:cubicBezTo>
                    <a:pt x="8164" y="3910"/>
                    <a:pt x="8904" y="4354"/>
                    <a:pt x="9644" y="4354"/>
                  </a:cubicBezTo>
                  <a:cubicBezTo>
                    <a:pt x="9657" y="4354"/>
                    <a:pt x="9670" y="4355"/>
                    <a:pt x="9683" y="4355"/>
                  </a:cubicBezTo>
                  <a:cubicBezTo>
                    <a:pt x="10363" y="4355"/>
                    <a:pt x="10913" y="3812"/>
                    <a:pt x="10913" y="3127"/>
                  </a:cubicBezTo>
                  <a:cubicBezTo>
                    <a:pt x="10934" y="2937"/>
                    <a:pt x="10934" y="2768"/>
                    <a:pt x="10934" y="2577"/>
                  </a:cubicBezTo>
                  <a:cubicBezTo>
                    <a:pt x="10934" y="2429"/>
                    <a:pt x="10934" y="2260"/>
                    <a:pt x="10955" y="2112"/>
                  </a:cubicBezTo>
                  <a:cubicBezTo>
                    <a:pt x="10998" y="2260"/>
                    <a:pt x="11019" y="2387"/>
                    <a:pt x="11040" y="2535"/>
                  </a:cubicBezTo>
                  <a:cubicBezTo>
                    <a:pt x="11061" y="2683"/>
                    <a:pt x="11082" y="2852"/>
                    <a:pt x="11125" y="3022"/>
                  </a:cubicBezTo>
                  <a:cubicBezTo>
                    <a:pt x="11357" y="4058"/>
                    <a:pt x="12076" y="4904"/>
                    <a:pt x="13049" y="5306"/>
                  </a:cubicBezTo>
                  <a:lnTo>
                    <a:pt x="13832" y="5644"/>
                  </a:lnTo>
                  <a:lnTo>
                    <a:pt x="14107" y="4840"/>
                  </a:lnTo>
                  <a:cubicBezTo>
                    <a:pt x="14107" y="4798"/>
                    <a:pt x="14128" y="4756"/>
                    <a:pt x="14149" y="4713"/>
                  </a:cubicBezTo>
                  <a:cubicBezTo>
                    <a:pt x="14255" y="4988"/>
                    <a:pt x="14382" y="5242"/>
                    <a:pt x="14530" y="5496"/>
                  </a:cubicBezTo>
                  <a:lnTo>
                    <a:pt x="14699" y="5792"/>
                  </a:lnTo>
                  <a:lnTo>
                    <a:pt x="15037" y="5856"/>
                  </a:lnTo>
                  <a:cubicBezTo>
                    <a:pt x="15693" y="6004"/>
                    <a:pt x="16327" y="6194"/>
                    <a:pt x="16941" y="6448"/>
                  </a:cubicBezTo>
                  <a:lnTo>
                    <a:pt x="17110" y="6511"/>
                  </a:lnTo>
                  <a:cubicBezTo>
                    <a:pt x="21023" y="8119"/>
                    <a:pt x="23582" y="11947"/>
                    <a:pt x="23582" y="16176"/>
                  </a:cubicBezTo>
                  <a:cubicBezTo>
                    <a:pt x="23582" y="20364"/>
                    <a:pt x="20409" y="23854"/>
                    <a:pt x="16264" y="24255"/>
                  </a:cubicBezTo>
                  <a:lnTo>
                    <a:pt x="15841" y="24298"/>
                  </a:lnTo>
                  <a:lnTo>
                    <a:pt x="15629" y="24657"/>
                  </a:lnTo>
                  <a:cubicBezTo>
                    <a:pt x="15545" y="24848"/>
                    <a:pt x="15397" y="25017"/>
                    <a:pt x="15249" y="25165"/>
                  </a:cubicBezTo>
                  <a:cubicBezTo>
                    <a:pt x="15164" y="25249"/>
                    <a:pt x="15058" y="25313"/>
                    <a:pt x="14953" y="25355"/>
                  </a:cubicBezTo>
                  <a:lnTo>
                    <a:pt x="14868" y="25080"/>
                  </a:lnTo>
                  <a:lnTo>
                    <a:pt x="14889" y="24298"/>
                  </a:lnTo>
                  <a:lnTo>
                    <a:pt x="9475" y="24298"/>
                  </a:lnTo>
                  <a:lnTo>
                    <a:pt x="10131" y="25355"/>
                  </a:lnTo>
                  <a:cubicBezTo>
                    <a:pt x="10035" y="25376"/>
                    <a:pt x="9940" y="25387"/>
                    <a:pt x="9842" y="25387"/>
                  </a:cubicBezTo>
                  <a:cubicBezTo>
                    <a:pt x="9745" y="25387"/>
                    <a:pt x="9644" y="25376"/>
                    <a:pt x="9538" y="25355"/>
                  </a:cubicBezTo>
                  <a:cubicBezTo>
                    <a:pt x="9031" y="25228"/>
                    <a:pt x="8587" y="24890"/>
                    <a:pt x="8333" y="24446"/>
                  </a:cubicBezTo>
                  <a:lnTo>
                    <a:pt x="8143" y="24150"/>
                  </a:lnTo>
                  <a:lnTo>
                    <a:pt x="7825" y="24065"/>
                  </a:lnTo>
                  <a:cubicBezTo>
                    <a:pt x="4166" y="23198"/>
                    <a:pt x="1586" y="19941"/>
                    <a:pt x="1607" y="16176"/>
                  </a:cubicBezTo>
                  <a:cubicBezTo>
                    <a:pt x="1629" y="11968"/>
                    <a:pt x="4209" y="8203"/>
                    <a:pt x="8121" y="6680"/>
                  </a:cubicBezTo>
                  <a:lnTo>
                    <a:pt x="8967" y="6363"/>
                  </a:lnTo>
                  <a:cubicBezTo>
                    <a:pt x="9137" y="6300"/>
                    <a:pt x="9306" y="6236"/>
                    <a:pt x="9475" y="6173"/>
                  </a:cubicBezTo>
                  <a:lnTo>
                    <a:pt x="12372" y="5200"/>
                  </a:lnTo>
                  <a:lnTo>
                    <a:pt x="9348" y="4650"/>
                  </a:lnTo>
                  <a:cubicBezTo>
                    <a:pt x="8650" y="4544"/>
                    <a:pt x="7973" y="4312"/>
                    <a:pt x="7318" y="3994"/>
                  </a:cubicBezTo>
                  <a:cubicBezTo>
                    <a:pt x="6556" y="3593"/>
                    <a:pt x="6028" y="2937"/>
                    <a:pt x="5922" y="2281"/>
                  </a:cubicBezTo>
                  <a:cubicBezTo>
                    <a:pt x="5837" y="2049"/>
                    <a:pt x="5901" y="1795"/>
                    <a:pt x="6070" y="1605"/>
                  </a:cubicBezTo>
                  <a:cubicBezTo>
                    <a:pt x="6091" y="1605"/>
                    <a:pt x="6133" y="1583"/>
                    <a:pt x="6154" y="1583"/>
                  </a:cubicBezTo>
                  <a:close/>
                  <a:moveTo>
                    <a:pt x="6136" y="1"/>
                  </a:moveTo>
                  <a:cubicBezTo>
                    <a:pt x="5854" y="1"/>
                    <a:pt x="5572" y="64"/>
                    <a:pt x="5309" y="209"/>
                  </a:cubicBezTo>
                  <a:cubicBezTo>
                    <a:pt x="4441" y="695"/>
                    <a:pt x="4209" y="1731"/>
                    <a:pt x="4357" y="2556"/>
                  </a:cubicBezTo>
                  <a:cubicBezTo>
                    <a:pt x="4547" y="3719"/>
                    <a:pt x="5372" y="4756"/>
                    <a:pt x="6577" y="5390"/>
                  </a:cubicBezTo>
                  <a:cubicBezTo>
                    <a:pt x="6641" y="5433"/>
                    <a:pt x="6726" y="5475"/>
                    <a:pt x="6810" y="5517"/>
                  </a:cubicBezTo>
                  <a:cubicBezTo>
                    <a:pt x="2686" y="7463"/>
                    <a:pt x="42" y="11608"/>
                    <a:pt x="21" y="16176"/>
                  </a:cubicBezTo>
                  <a:cubicBezTo>
                    <a:pt x="0" y="20554"/>
                    <a:pt x="2940" y="24382"/>
                    <a:pt x="7170" y="25524"/>
                  </a:cubicBezTo>
                  <a:cubicBezTo>
                    <a:pt x="7656" y="26201"/>
                    <a:pt x="8375" y="26688"/>
                    <a:pt x="9179" y="26899"/>
                  </a:cubicBezTo>
                  <a:cubicBezTo>
                    <a:pt x="9359" y="26944"/>
                    <a:pt x="9586" y="26974"/>
                    <a:pt x="9832" y="26974"/>
                  </a:cubicBezTo>
                  <a:cubicBezTo>
                    <a:pt x="10393" y="26974"/>
                    <a:pt x="11051" y="26820"/>
                    <a:pt x="11463" y="26349"/>
                  </a:cubicBezTo>
                  <a:cubicBezTo>
                    <a:pt x="11569" y="26222"/>
                    <a:pt x="11675" y="26053"/>
                    <a:pt x="11717" y="25884"/>
                  </a:cubicBezTo>
                  <a:lnTo>
                    <a:pt x="13303" y="25884"/>
                  </a:lnTo>
                  <a:cubicBezTo>
                    <a:pt x="13430" y="26349"/>
                    <a:pt x="13789" y="26751"/>
                    <a:pt x="14255" y="26899"/>
                  </a:cubicBezTo>
                  <a:cubicBezTo>
                    <a:pt x="14403" y="26963"/>
                    <a:pt x="14593" y="26984"/>
                    <a:pt x="14762" y="26984"/>
                  </a:cubicBezTo>
                  <a:cubicBezTo>
                    <a:pt x="15333" y="26963"/>
                    <a:pt x="15883" y="26730"/>
                    <a:pt x="16306" y="26349"/>
                  </a:cubicBezTo>
                  <a:cubicBezTo>
                    <a:pt x="16497" y="26180"/>
                    <a:pt x="16666" y="25990"/>
                    <a:pt x="16814" y="25778"/>
                  </a:cubicBezTo>
                  <a:cubicBezTo>
                    <a:pt x="21615" y="25123"/>
                    <a:pt x="25189" y="21020"/>
                    <a:pt x="25168" y="16176"/>
                  </a:cubicBezTo>
                  <a:cubicBezTo>
                    <a:pt x="25168" y="11312"/>
                    <a:pt x="22249" y="6913"/>
                    <a:pt x="17744" y="5052"/>
                  </a:cubicBezTo>
                  <a:lnTo>
                    <a:pt x="17554" y="4967"/>
                  </a:lnTo>
                  <a:cubicBezTo>
                    <a:pt x="16962" y="4735"/>
                    <a:pt x="16370" y="4544"/>
                    <a:pt x="15756" y="4396"/>
                  </a:cubicBezTo>
                  <a:cubicBezTo>
                    <a:pt x="15629" y="4142"/>
                    <a:pt x="15524" y="3867"/>
                    <a:pt x="15481" y="3593"/>
                  </a:cubicBezTo>
                  <a:cubicBezTo>
                    <a:pt x="15439" y="3318"/>
                    <a:pt x="15249" y="2662"/>
                    <a:pt x="14720" y="2366"/>
                  </a:cubicBezTo>
                  <a:cubicBezTo>
                    <a:pt x="14555" y="2283"/>
                    <a:pt x="14377" y="2240"/>
                    <a:pt x="14200" y="2240"/>
                  </a:cubicBezTo>
                  <a:cubicBezTo>
                    <a:pt x="14060" y="2240"/>
                    <a:pt x="13920" y="2267"/>
                    <a:pt x="13789" y="2324"/>
                  </a:cubicBezTo>
                  <a:cubicBezTo>
                    <a:pt x="13493" y="2472"/>
                    <a:pt x="13261" y="2704"/>
                    <a:pt x="13155" y="3000"/>
                  </a:cubicBezTo>
                  <a:cubicBezTo>
                    <a:pt x="13092" y="3106"/>
                    <a:pt x="13049" y="3233"/>
                    <a:pt x="12986" y="3339"/>
                  </a:cubicBezTo>
                  <a:cubicBezTo>
                    <a:pt x="12838" y="3148"/>
                    <a:pt x="12732" y="2916"/>
                    <a:pt x="12669" y="2683"/>
                  </a:cubicBezTo>
                  <a:cubicBezTo>
                    <a:pt x="12647" y="2556"/>
                    <a:pt x="12626" y="2450"/>
                    <a:pt x="12626" y="2324"/>
                  </a:cubicBezTo>
                  <a:cubicBezTo>
                    <a:pt x="12584" y="2049"/>
                    <a:pt x="12520" y="1795"/>
                    <a:pt x="12436" y="1520"/>
                  </a:cubicBezTo>
                  <a:cubicBezTo>
                    <a:pt x="12238" y="737"/>
                    <a:pt x="11602" y="362"/>
                    <a:pt x="10964" y="362"/>
                  </a:cubicBezTo>
                  <a:cubicBezTo>
                    <a:pt x="10240" y="362"/>
                    <a:pt x="9513" y="843"/>
                    <a:pt x="9412" y="1753"/>
                  </a:cubicBezTo>
                  <a:cubicBezTo>
                    <a:pt x="9369" y="2028"/>
                    <a:pt x="9348" y="2302"/>
                    <a:pt x="9348" y="2577"/>
                  </a:cubicBezTo>
                  <a:lnTo>
                    <a:pt x="9348" y="2662"/>
                  </a:lnTo>
                  <a:cubicBezTo>
                    <a:pt x="9179" y="2535"/>
                    <a:pt x="9010" y="2387"/>
                    <a:pt x="8883" y="2197"/>
                  </a:cubicBezTo>
                  <a:cubicBezTo>
                    <a:pt x="8798" y="2070"/>
                    <a:pt x="8692" y="1901"/>
                    <a:pt x="8587" y="1753"/>
                  </a:cubicBezTo>
                  <a:cubicBezTo>
                    <a:pt x="8354" y="1372"/>
                    <a:pt x="8100" y="1033"/>
                    <a:pt x="7804" y="716"/>
                  </a:cubicBezTo>
                  <a:cubicBezTo>
                    <a:pt x="7382" y="308"/>
                    <a:pt x="6759" y="1"/>
                    <a:pt x="613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7" name="Google Shape;1267;p35"/>
            <p:cNvSpPr/>
            <p:nvPr/>
          </p:nvSpPr>
          <p:spPr>
            <a:xfrm rot="683019">
              <a:off x="8315789" y="3937056"/>
              <a:ext cx="438699" cy="217744"/>
            </a:xfrm>
            <a:custGeom>
              <a:avLst/>
              <a:gdLst/>
              <a:ahLst/>
              <a:cxnLst/>
              <a:rect l="l" t="t" r="r" b="b"/>
              <a:pathLst>
                <a:path w="11993" h="5953" extrusionOk="0">
                  <a:moveTo>
                    <a:pt x="1112" y="1"/>
                  </a:moveTo>
                  <a:cubicBezTo>
                    <a:pt x="953" y="1"/>
                    <a:pt x="797" y="36"/>
                    <a:pt x="656" y="116"/>
                  </a:cubicBezTo>
                  <a:cubicBezTo>
                    <a:pt x="149" y="391"/>
                    <a:pt x="1" y="1067"/>
                    <a:pt x="106" y="1638"/>
                  </a:cubicBezTo>
                  <a:cubicBezTo>
                    <a:pt x="276" y="2632"/>
                    <a:pt x="1037" y="3436"/>
                    <a:pt x="1925" y="3901"/>
                  </a:cubicBezTo>
                  <a:cubicBezTo>
                    <a:pt x="2792" y="4388"/>
                    <a:pt x="3807" y="4578"/>
                    <a:pt x="4801" y="4747"/>
                  </a:cubicBezTo>
                  <a:lnTo>
                    <a:pt x="11992" y="5953"/>
                  </a:lnTo>
                  <a:cubicBezTo>
                    <a:pt x="10787" y="5382"/>
                    <a:pt x="9920" y="4261"/>
                    <a:pt x="9666" y="2950"/>
                  </a:cubicBezTo>
                  <a:cubicBezTo>
                    <a:pt x="9592" y="2654"/>
                    <a:pt x="9437" y="2246"/>
                    <a:pt x="9174" y="2246"/>
                  </a:cubicBezTo>
                  <a:cubicBezTo>
                    <a:pt x="9136" y="2246"/>
                    <a:pt x="9095" y="2254"/>
                    <a:pt x="9053" y="2273"/>
                  </a:cubicBezTo>
                  <a:cubicBezTo>
                    <a:pt x="8947" y="2336"/>
                    <a:pt x="8862" y="2442"/>
                    <a:pt x="8820" y="2548"/>
                  </a:cubicBezTo>
                  <a:cubicBezTo>
                    <a:pt x="8630" y="2950"/>
                    <a:pt x="8460" y="3373"/>
                    <a:pt x="8312" y="3796"/>
                  </a:cubicBezTo>
                  <a:cubicBezTo>
                    <a:pt x="7572" y="3478"/>
                    <a:pt x="7043" y="2844"/>
                    <a:pt x="6853" y="2061"/>
                  </a:cubicBezTo>
                  <a:cubicBezTo>
                    <a:pt x="6811" y="1702"/>
                    <a:pt x="6747" y="1363"/>
                    <a:pt x="6663" y="1004"/>
                  </a:cubicBezTo>
                  <a:cubicBezTo>
                    <a:pt x="6557" y="644"/>
                    <a:pt x="6240" y="391"/>
                    <a:pt x="5880" y="369"/>
                  </a:cubicBezTo>
                  <a:cubicBezTo>
                    <a:pt x="5499" y="391"/>
                    <a:pt x="5224" y="750"/>
                    <a:pt x="5161" y="1131"/>
                  </a:cubicBezTo>
                  <a:cubicBezTo>
                    <a:pt x="5119" y="1490"/>
                    <a:pt x="5098" y="1871"/>
                    <a:pt x="5098" y="2252"/>
                  </a:cubicBezTo>
                  <a:cubicBezTo>
                    <a:pt x="5098" y="2421"/>
                    <a:pt x="5013" y="2590"/>
                    <a:pt x="4865" y="2696"/>
                  </a:cubicBezTo>
                  <a:cubicBezTo>
                    <a:pt x="4801" y="2738"/>
                    <a:pt x="4696" y="2759"/>
                    <a:pt x="4611" y="2759"/>
                  </a:cubicBezTo>
                  <a:cubicBezTo>
                    <a:pt x="4040" y="2759"/>
                    <a:pt x="3554" y="2336"/>
                    <a:pt x="3215" y="1892"/>
                  </a:cubicBezTo>
                  <a:cubicBezTo>
                    <a:pt x="2877" y="1427"/>
                    <a:pt x="2623" y="898"/>
                    <a:pt x="2200" y="496"/>
                  </a:cubicBezTo>
                  <a:cubicBezTo>
                    <a:pt x="1915" y="211"/>
                    <a:pt x="1502" y="1"/>
                    <a:pt x="111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8" name="Google Shape;1268;p35"/>
            <p:cNvSpPr/>
            <p:nvPr/>
          </p:nvSpPr>
          <p:spPr>
            <a:xfrm rot="683019">
              <a:off x="8079133" y="4088291"/>
              <a:ext cx="861889" cy="740395"/>
            </a:xfrm>
            <a:custGeom>
              <a:avLst/>
              <a:gdLst/>
              <a:ahLst/>
              <a:cxnLst/>
              <a:rect l="l" t="t" r="r" b="b"/>
              <a:pathLst>
                <a:path w="23562" h="20242" extrusionOk="0">
                  <a:moveTo>
                    <a:pt x="12025" y="1"/>
                  </a:moveTo>
                  <a:cubicBezTo>
                    <a:pt x="10613" y="1"/>
                    <a:pt x="9203" y="260"/>
                    <a:pt x="7868" y="784"/>
                  </a:cubicBezTo>
                  <a:lnTo>
                    <a:pt x="7022" y="1101"/>
                  </a:lnTo>
                  <a:cubicBezTo>
                    <a:pt x="2792" y="2730"/>
                    <a:pt x="1" y="6811"/>
                    <a:pt x="1" y="11337"/>
                  </a:cubicBezTo>
                  <a:cubicBezTo>
                    <a:pt x="1" y="16265"/>
                    <a:pt x="3998" y="20241"/>
                    <a:pt x="8926" y="20241"/>
                  </a:cubicBezTo>
                  <a:lnTo>
                    <a:pt x="14657" y="20241"/>
                  </a:lnTo>
                  <a:cubicBezTo>
                    <a:pt x="19585" y="20241"/>
                    <a:pt x="23561" y="16265"/>
                    <a:pt x="23561" y="11337"/>
                  </a:cubicBezTo>
                  <a:cubicBezTo>
                    <a:pt x="23561" y="6790"/>
                    <a:pt x="20833" y="2687"/>
                    <a:pt x="16624" y="953"/>
                  </a:cubicBezTo>
                  <a:lnTo>
                    <a:pt x="16434" y="869"/>
                  </a:lnTo>
                  <a:cubicBezTo>
                    <a:pt x="15019" y="292"/>
                    <a:pt x="13521" y="1"/>
                    <a:pt x="120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9" name="Google Shape;1269;p35"/>
            <p:cNvSpPr/>
            <p:nvPr/>
          </p:nvSpPr>
          <p:spPr>
            <a:xfrm rot="683019">
              <a:off x="8464654" y="4333880"/>
              <a:ext cx="112190" cy="147004"/>
            </a:xfrm>
            <a:custGeom>
              <a:avLst/>
              <a:gdLst/>
              <a:ahLst/>
              <a:cxnLst/>
              <a:rect l="l" t="t" r="r" b="b"/>
              <a:pathLst>
                <a:path w="3067" h="4019" extrusionOk="0">
                  <a:moveTo>
                    <a:pt x="1523" y="1"/>
                  </a:moveTo>
                  <a:cubicBezTo>
                    <a:pt x="677" y="1"/>
                    <a:pt x="0" y="699"/>
                    <a:pt x="0" y="1544"/>
                  </a:cubicBezTo>
                  <a:cubicBezTo>
                    <a:pt x="0" y="2369"/>
                    <a:pt x="677" y="4019"/>
                    <a:pt x="1523" y="4019"/>
                  </a:cubicBezTo>
                  <a:cubicBezTo>
                    <a:pt x="2369" y="4019"/>
                    <a:pt x="3067" y="2369"/>
                    <a:pt x="3067" y="1544"/>
                  </a:cubicBezTo>
                  <a:cubicBezTo>
                    <a:pt x="3067" y="699"/>
                    <a:pt x="2369" y="1"/>
                    <a:pt x="1523" y="1"/>
                  </a:cubicBezTo>
                  <a:close/>
                </a:path>
              </a:pathLst>
            </a:custGeom>
            <a:solidFill>
              <a:srgbClr val="DB8D4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0" name="Google Shape;1270;p35"/>
            <p:cNvSpPr/>
            <p:nvPr/>
          </p:nvSpPr>
          <p:spPr>
            <a:xfrm rot="683019">
              <a:off x="8468163" y="4332694"/>
              <a:ext cx="112190" cy="114523"/>
            </a:xfrm>
            <a:custGeom>
              <a:avLst/>
              <a:gdLst/>
              <a:ahLst/>
              <a:cxnLst/>
              <a:rect l="l" t="t" r="r" b="b"/>
              <a:pathLst>
                <a:path w="3067" h="3131" extrusionOk="0">
                  <a:moveTo>
                    <a:pt x="1523" y="0"/>
                  </a:moveTo>
                  <a:cubicBezTo>
                    <a:pt x="677" y="0"/>
                    <a:pt x="0" y="719"/>
                    <a:pt x="0" y="1333"/>
                  </a:cubicBezTo>
                  <a:cubicBezTo>
                    <a:pt x="0" y="1946"/>
                    <a:pt x="677" y="3130"/>
                    <a:pt x="1523" y="3130"/>
                  </a:cubicBezTo>
                  <a:cubicBezTo>
                    <a:pt x="2369" y="3130"/>
                    <a:pt x="3067" y="1946"/>
                    <a:pt x="3067" y="1333"/>
                  </a:cubicBezTo>
                  <a:cubicBezTo>
                    <a:pt x="3067" y="719"/>
                    <a:pt x="2369" y="0"/>
                    <a:pt x="152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1" name="Google Shape;1271;p35"/>
            <p:cNvSpPr/>
            <p:nvPr/>
          </p:nvSpPr>
          <p:spPr>
            <a:xfrm rot="683019">
              <a:off x="8310187" y="4205739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26" y="1"/>
                    <a:pt x="1" y="847"/>
                    <a:pt x="1" y="1883"/>
                  </a:cubicBezTo>
                  <a:cubicBezTo>
                    <a:pt x="1" y="2919"/>
                    <a:pt x="826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2" name="Google Shape;1272;p35"/>
            <p:cNvSpPr/>
            <p:nvPr/>
          </p:nvSpPr>
          <p:spPr>
            <a:xfrm rot="683019">
              <a:off x="8634781" y="4271096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47" y="1"/>
                    <a:pt x="1" y="847"/>
                    <a:pt x="1" y="1883"/>
                  </a:cubicBezTo>
                  <a:cubicBezTo>
                    <a:pt x="1" y="2919"/>
                    <a:pt x="847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3" name="Google Shape;1273;p35"/>
            <p:cNvSpPr/>
            <p:nvPr/>
          </p:nvSpPr>
          <p:spPr>
            <a:xfrm rot="683019">
              <a:off x="8381831" y="4237974"/>
              <a:ext cx="41042" cy="41040"/>
            </a:xfrm>
            <a:custGeom>
              <a:avLst/>
              <a:gdLst/>
              <a:ahLst/>
              <a:cxnLst/>
              <a:rect l="l" t="t" r="r" b="b"/>
              <a:pathLst>
                <a:path w="1122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68" y="1121"/>
                    <a:pt x="1122" y="867"/>
                    <a:pt x="1122" y="550"/>
                  </a:cubicBezTo>
                  <a:cubicBezTo>
                    <a:pt x="1122" y="233"/>
                    <a:pt x="868" y="0"/>
                    <a:pt x="57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4" name="Google Shape;1274;p35"/>
            <p:cNvSpPr/>
            <p:nvPr/>
          </p:nvSpPr>
          <p:spPr>
            <a:xfrm rot="683019">
              <a:off x="8716279" y="4305392"/>
              <a:ext cx="41810" cy="41040"/>
            </a:xfrm>
            <a:custGeom>
              <a:avLst/>
              <a:gdLst/>
              <a:ahLst/>
              <a:cxnLst/>
              <a:rect l="l" t="t" r="r" b="b"/>
              <a:pathLst>
                <a:path w="1143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89" y="1121"/>
                    <a:pt x="1143" y="867"/>
                    <a:pt x="1143" y="550"/>
                  </a:cubicBezTo>
                  <a:cubicBezTo>
                    <a:pt x="1143" y="233"/>
                    <a:pt x="889" y="0"/>
                    <a:pt x="57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5" name="Google Shape;1275;p35"/>
            <p:cNvSpPr/>
            <p:nvPr/>
          </p:nvSpPr>
          <p:spPr>
            <a:xfrm rot="683019">
              <a:off x="8220508" y="4463711"/>
              <a:ext cx="100631" cy="84932"/>
            </a:xfrm>
            <a:custGeom>
              <a:avLst/>
              <a:gdLst/>
              <a:ahLst/>
              <a:cxnLst/>
              <a:rect l="l" t="t" r="r" b="b"/>
              <a:pathLst>
                <a:path w="2751" h="2322" extrusionOk="0">
                  <a:moveTo>
                    <a:pt x="1689" y="0"/>
                  </a:moveTo>
                  <a:cubicBezTo>
                    <a:pt x="1437" y="0"/>
                    <a:pt x="1176" y="274"/>
                    <a:pt x="1354" y="528"/>
                  </a:cubicBezTo>
                  <a:cubicBezTo>
                    <a:pt x="1523" y="760"/>
                    <a:pt x="1650" y="1014"/>
                    <a:pt x="1714" y="1310"/>
                  </a:cubicBezTo>
                  <a:cubicBezTo>
                    <a:pt x="1753" y="1621"/>
                    <a:pt x="1720" y="1736"/>
                    <a:pt x="1435" y="1736"/>
                  </a:cubicBezTo>
                  <a:cubicBezTo>
                    <a:pt x="1410" y="1736"/>
                    <a:pt x="1383" y="1735"/>
                    <a:pt x="1354" y="1733"/>
                  </a:cubicBezTo>
                  <a:cubicBezTo>
                    <a:pt x="868" y="1648"/>
                    <a:pt x="424" y="1458"/>
                    <a:pt x="22" y="1162"/>
                  </a:cubicBezTo>
                  <a:cubicBezTo>
                    <a:pt x="22" y="1162"/>
                    <a:pt x="1" y="1162"/>
                    <a:pt x="1" y="1204"/>
                  </a:cubicBezTo>
                  <a:cubicBezTo>
                    <a:pt x="230" y="1798"/>
                    <a:pt x="911" y="2322"/>
                    <a:pt x="1602" y="2322"/>
                  </a:cubicBezTo>
                  <a:cubicBezTo>
                    <a:pt x="1675" y="2322"/>
                    <a:pt x="1747" y="2316"/>
                    <a:pt x="1820" y="2304"/>
                  </a:cubicBezTo>
                  <a:cubicBezTo>
                    <a:pt x="2750" y="2135"/>
                    <a:pt x="2285" y="676"/>
                    <a:pt x="1968" y="168"/>
                  </a:cubicBezTo>
                  <a:cubicBezTo>
                    <a:pt x="1899" y="49"/>
                    <a:pt x="1795" y="0"/>
                    <a:pt x="168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6" name="Google Shape;1276;p35"/>
            <p:cNvSpPr/>
            <p:nvPr/>
          </p:nvSpPr>
          <p:spPr>
            <a:xfrm rot="683019">
              <a:off x="8664450" y="4526127"/>
              <a:ext cx="123127" cy="75422"/>
            </a:xfrm>
            <a:custGeom>
              <a:avLst/>
              <a:gdLst/>
              <a:ahLst/>
              <a:cxnLst/>
              <a:rect l="l" t="t" r="r" b="b"/>
              <a:pathLst>
                <a:path w="3366" h="2062" extrusionOk="0">
                  <a:moveTo>
                    <a:pt x="890" y="1"/>
                  </a:moveTo>
                  <a:cubicBezTo>
                    <a:pt x="849" y="1"/>
                    <a:pt x="808" y="20"/>
                    <a:pt x="783" y="61"/>
                  </a:cubicBezTo>
                  <a:lnTo>
                    <a:pt x="805" y="61"/>
                  </a:lnTo>
                  <a:cubicBezTo>
                    <a:pt x="572" y="568"/>
                    <a:pt x="1" y="1478"/>
                    <a:pt x="635" y="1901"/>
                  </a:cubicBezTo>
                  <a:cubicBezTo>
                    <a:pt x="805" y="2016"/>
                    <a:pt x="1006" y="2061"/>
                    <a:pt x="1221" y="2061"/>
                  </a:cubicBezTo>
                  <a:cubicBezTo>
                    <a:pt x="1837" y="2061"/>
                    <a:pt x="2571" y="1687"/>
                    <a:pt x="3025" y="1499"/>
                  </a:cubicBezTo>
                  <a:cubicBezTo>
                    <a:pt x="3366" y="1367"/>
                    <a:pt x="3267" y="863"/>
                    <a:pt x="2970" y="863"/>
                  </a:cubicBezTo>
                  <a:cubicBezTo>
                    <a:pt x="2935" y="863"/>
                    <a:pt x="2897" y="870"/>
                    <a:pt x="2856" y="886"/>
                  </a:cubicBezTo>
                  <a:cubicBezTo>
                    <a:pt x="2327" y="1097"/>
                    <a:pt x="1799" y="1266"/>
                    <a:pt x="1249" y="1414"/>
                  </a:cubicBezTo>
                  <a:cubicBezTo>
                    <a:pt x="1195" y="1428"/>
                    <a:pt x="1149" y="1434"/>
                    <a:pt x="1110" y="1434"/>
                  </a:cubicBezTo>
                  <a:cubicBezTo>
                    <a:pt x="842" y="1434"/>
                    <a:pt x="895" y="1141"/>
                    <a:pt x="932" y="864"/>
                  </a:cubicBezTo>
                  <a:cubicBezTo>
                    <a:pt x="974" y="632"/>
                    <a:pt x="995" y="378"/>
                    <a:pt x="1016" y="124"/>
                  </a:cubicBezTo>
                  <a:cubicBezTo>
                    <a:pt x="1016" y="47"/>
                    <a:pt x="953" y="1"/>
                    <a:pt x="89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7" name="Google Shape;1277;p35"/>
            <p:cNvSpPr/>
            <p:nvPr/>
          </p:nvSpPr>
          <p:spPr>
            <a:xfrm rot="683019">
              <a:off x="8256815" y="4736513"/>
              <a:ext cx="119945" cy="90126"/>
            </a:xfrm>
            <a:custGeom>
              <a:avLst/>
              <a:gdLst/>
              <a:ahLst/>
              <a:cxnLst/>
              <a:rect l="l" t="t" r="r" b="b"/>
              <a:pathLst>
                <a:path w="3279" h="2464" extrusionOk="0">
                  <a:moveTo>
                    <a:pt x="544" y="1"/>
                  </a:moveTo>
                  <a:cubicBezTo>
                    <a:pt x="439" y="1"/>
                    <a:pt x="331" y="29"/>
                    <a:pt x="233" y="85"/>
                  </a:cubicBezTo>
                  <a:cubicBezTo>
                    <a:pt x="0" y="233"/>
                    <a:pt x="42" y="572"/>
                    <a:pt x="148" y="825"/>
                  </a:cubicBezTo>
                  <a:cubicBezTo>
                    <a:pt x="465" y="1629"/>
                    <a:pt x="1163" y="2221"/>
                    <a:pt x="1988" y="2412"/>
                  </a:cubicBezTo>
                  <a:cubicBezTo>
                    <a:pt x="2103" y="2447"/>
                    <a:pt x="2221" y="2464"/>
                    <a:pt x="2340" y="2464"/>
                  </a:cubicBezTo>
                  <a:cubicBezTo>
                    <a:pt x="2507" y="2464"/>
                    <a:pt x="2674" y="2431"/>
                    <a:pt x="2834" y="2369"/>
                  </a:cubicBezTo>
                  <a:cubicBezTo>
                    <a:pt x="3088" y="2264"/>
                    <a:pt x="3278" y="1989"/>
                    <a:pt x="3257" y="1714"/>
                  </a:cubicBezTo>
                  <a:lnTo>
                    <a:pt x="3194" y="1460"/>
                  </a:lnTo>
                  <a:cubicBezTo>
                    <a:pt x="2559" y="699"/>
                    <a:pt x="1671" y="191"/>
                    <a:pt x="698" y="22"/>
                  </a:cubicBezTo>
                  <a:cubicBezTo>
                    <a:pt x="649" y="8"/>
                    <a:pt x="597" y="1"/>
                    <a:pt x="54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8" name="Google Shape;1278;p35"/>
            <p:cNvSpPr/>
            <p:nvPr/>
          </p:nvSpPr>
          <p:spPr>
            <a:xfrm rot="683019">
              <a:off x="8243626" y="4729561"/>
              <a:ext cx="148550" cy="107427"/>
            </a:xfrm>
            <a:custGeom>
              <a:avLst/>
              <a:gdLst/>
              <a:ahLst/>
              <a:cxnLst/>
              <a:rect l="l" t="t" r="r" b="b"/>
              <a:pathLst>
                <a:path w="4061" h="2937" extrusionOk="0">
                  <a:moveTo>
                    <a:pt x="938" y="0"/>
                  </a:moveTo>
                  <a:cubicBezTo>
                    <a:pt x="333" y="0"/>
                    <a:pt x="0" y="458"/>
                    <a:pt x="267" y="1171"/>
                  </a:cubicBezTo>
                  <a:cubicBezTo>
                    <a:pt x="606" y="2017"/>
                    <a:pt x="1304" y="2672"/>
                    <a:pt x="2192" y="2884"/>
                  </a:cubicBezTo>
                  <a:cubicBezTo>
                    <a:pt x="2329" y="2918"/>
                    <a:pt x="2489" y="2936"/>
                    <a:pt x="2656" y="2936"/>
                  </a:cubicBezTo>
                  <a:cubicBezTo>
                    <a:pt x="3314" y="2936"/>
                    <a:pt x="4061" y="2645"/>
                    <a:pt x="3757" y="1868"/>
                  </a:cubicBezTo>
                  <a:cubicBezTo>
                    <a:pt x="3745" y="1796"/>
                    <a:pt x="3692" y="1758"/>
                    <a:pt x="3637" y="1758"/>
                  </a:cubicBezTo>
                  <a:cubicBezTo>
                    <a:pt x="3595" y="1758"/>
                    <a:pt x="3552" y="1780"/>
                    <a:pt x="3524" y="1826"/>
                  </a:cubicBezTo>
                  <a:cubicBezTo>
                    <a:pt x="3339" y="2186"/>
                    <a:pt x="3035" y="2321"/>
                    <a:pt x="2704" y="2321"/>
                  </a:cubicBezTo>
                  <a:cubicBezTo>
                    <a:pt x="2355" y="2321"/>
                    <a:pt x="1978" y="2170"/>
                    <a:pt x="1684" y="1974"/>
                  </a:cubicBezTo>
                  <a:cubicBezTo>
                    <a:pt x="1346" y="1742"/>
                    <a:pt x="733" y="1255"/>
                    <a:pt x="712" y="790"/>
                  </a:cubicBezTo>
                  <a:cubicBezTo>
                    <a:pt x="696" y="530"/>
                    <a:pt x="855" y="441"/>
                    <a:pt x="1079" y="441"/>
                  </a:cubicBezTo>
                  <a:cubicBezTo>
                    <a:pt x="1473" y="441"/>
                    <a:pt x="2067" y="717"/>
                    <a:pt x="2256" y="811"/>
                  </a:cubicBezTo>
                  <a:cubicBezTo>
                    <a:pt x="2721" y="1065"/>
                    <a:pt x="3144" y="1340"/>
                    <a:pt x="3546" y="1678"/>
                  </a:cubicBezTo>
                  <a:cubicBezTo>
                    <a:pt x="3550" y="1682"/>
                    <a:pt x="3554" y="1684"/>
                    <a:pt x="3559" y="1684"/>
                  </a:cubicBezTo>
                  <a:cubicBezTo>
                    <a:pt x="3581" y="1684"/>
                    <a:pt x="3605" y="1653"/>
                    <a:pt x="3588" y="1636"/>
                  </a:cubicBezTo>
                  <a:cubicBezTo>
                    <a:pt x="3123" y="811"/>
                    <a:pt x="2213" y="282"/>
                    <a:pt x="1304" y="50"/>
                  </a:cubicBezTo>
                  <a:cubicBezTo>
                    <a:pt x="1174" y="16"/>
                    <a:pt x="1051" y="0"/>
                    <a:pt x="93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9" name="Google Shape;1279;p35"/>
            <p:cNvSpPr/>
            <p:nvPr/>
          </p:nvSpPr>
          <p:spPr>
            <a:xfrm rot="683019">
              <a:off x="8496919" y="4748783"/>
              <a:ext cx="87462" cy="122790"/>
            </a:xfrm>
            <a:custGeom>
              <a:avLst/>
              <a:gdLst/>
              <a:ahLst/>
              <a:cxnLst/>
              <a:rect l="l" t="t" r="r" b="b"/>
              <a:pathLst>
                <a:path w="2391" h="3357" extrusionOk="0">
                  <a:moveTo>
                    <a:pt x="1756" y="0"/>
                  </a:moveTo>
                  <a:cubicBezTo>
                    <a:pt x="1587" y="22"/>
                    <a:pt x="1439" y="85"/>
                    <a:pt x="1333" y="212"/>
                  </a:cubicBezTo>
                  <a:cubicBezTo>
                    <a:pt x="593" y="868"/>
                    <a:pt x="128" y="1777"/>
                    <a:pt x="1" y="2771"/>
                  </a:cubicBezTo>
                  <a:lnTo>
                    <a:pt x="85" y="3025"/>
                  </a:lnTo>
                  <a:cubicBezTo>
                    <a:pt x="210" y="3221"/>
                    <a:pt x="425" y="3357"/>
                    <a:pt x="667" y="3357"/>
                  </a:cubicBezTo>
                  <a:cubicBezTo>
                    <a:pt x="712" y="3357"/>
                    <a:pt x="758" y="3352"/>
                    <a:pt x="804" y="3342"/>
                  </a:cubicBezTo>
                  <a:cubicBezTo>
                    <a:pt x="1079" y="3279"/>
                    <a:pt x="1333" y="3130"/>
                    <a:pt x="1523" y="2919"/>
                  </a:cubicBezTo>
                  <a:cubicBezTo>
                    <a:pt x="2137" y="2306"/>
                    <a:pt x="2391" y="1417"/>
                    <a:pt x="2221" y="571"/>
                  </a:cubicBezTo>
                  <a:cubicBezTo>
                    <a:pt x="2179" y="318"/>
                    <a:pt x="2010" y="0"/>
                    <a:pt x="17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80" name="Google Shape;1280;p35"/>
            <p:cNvSpPr/>
            <p:nvPr/>
          </p:nvSpPr>
          <p:spPr>
            <a:xfrm rot="683019">
              <a:off x="8493474" y="4741914"/>
              <a:ext cx="102130" cy="141078"/>
            </a:xfrm>
            <a:custGeom>
              <a:avLst/>
              <a:gdLst/>
              <a:ahLst/>
              <a:cxnLst/>
              <a:rect l="l" t="t" r="r" b="b"/>
              <a:pathLst>
                <a:path w="2792" h="3857" extrusionOk="0">
                  <a:moveTo>
                    <a:pt x="1835" y="0"/>
                  </a:moveTo>
                  <a:cubicBezTo>
                    <a:pt x="1658" y="0"/>
                    <a:pt x="1464" y="78"/>
                    <a:pt x="1269" y="253"/>
                  </a:cubicBezTo>
                  <a:cubicBezTo>
                    <a:pt x="529" y="929"/>
                    <a:pt x="0" y="1987"/>
                    <a:pt x="64" y="2981"/>
                  </a:cubicBezTo>
                  <a:cubicBezTo>
                    <a:pt x="64" y="3002"/>
                    <a:pt x="79" y="3013"/>
                    <a:pt x="95" y="3013"/>
                  </a:cubicBezTo>
                  <a:cubicBezTo>
                    <a:pt x="111" y="3013"/>
                    <a:pt x="127" y="3002"/>
                    <a:pt x="127" y="2981"/>
                  </a:cubicBezTo>
                  <a:cubicBezTo>
                    <a:pt x="296" y="2452"/>
                    <a:pt x="508" y="1945"/>
                    <a:pt x="783" y="1479"/>
                  </a:cubicBezTo>
                  <a:cubicBezTo>
                    <a:pt x="955" y="1213"/>
                    <a:pt x="1393" y="554"/>
                    <a:pt x="1738" y="554"/>
                  </a:cubicBezTo>
                  <a:cubicBezTo>
                    <a:pt x="1859" y="554"/>
                    <a:pt x="1969" y="636"/>
                    <a:pt x="2052" y="845"/>
                  </a:cubicBezTo>
                  <a:cubicBezTo>
                    <a:pt x="2345" y="1633"/>
                    <a:pt x="1606" y="3231"/>
                    <a:pt x="674" y="3231"/>
                  </a:cubicBezTo>
                  <a:cubicBezTo>
                    <a:pt x="531" y="3231"/>
                    <a:pt x="382" y="3193"/>
                    <a:pt x="233" y="3108"/>
                  </a:cubicBezTo>
                  <a:cubicBezTo>
                    <a:pt x="211" y="3095"/>
                    <a:pt x="188" y="3089"/>
                    <a:pt x="165" y="3089"/>
                  </a:cubicBezTo>
                  <a:cubicBezTo>
                    <a:pt x="81" y="3089"/>
                    <a:pt x="9" y="3172"/>
                    <a:pt x="42" y="3256"/>
                  </a:cubicBezTo>
                  <a:cubicBezTo>
                    <a:pt x="124" y="3693"/>
                    <a:pt x="406" y="3857"/>
                    <a:pt x="733" y="3857"/>
                  </a:cubicBezTo>
                  <a:cubicBezTo>
                    <a:pt x="1086" y="3857"/>
                    <a:pt x="1492" y="3667"/>
                    <a:pt x="1755" y="3425"/>
                  </a:cubicBezTo>
                  <a:cubicBezTo>
                    <a:pt x="2475" y="2769"/>
                    <a:pt x="2792" y="1775"/>
                    <a:pt x="2601" y="803"/>
                  </a:cubicBezTo>
                  <a:cubicBezTo>
                    <a:pt x="2488" y="321"/>
                    <a:pt x="2194" y="0"/>
                    <a:pt x="183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029" y="5703"/>
            <a:ext cx="12221029" cy="6858000"/>
          </a:xfrm>
          <a:prstGeom prst="rect">
            <a:avLst/>
          </a:prstGeom>
        </p:spPr>
      </p:pic>
      <p:pic>
        <p:nvPicPr>
          <p:cNvPr id="41" name="图片 4">
            <a:extLst>
              <a:ext uri="{FF2B5EF4-FFF2-40B4-BE49-F238E27FC236}">
                <a16:creationId xmlns:a16="http://schemas.microsoft.com/office/drawing/2014/main" id="{1C402D7E-F3C5-4A01-AB79-54CA27F2EB2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0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5467" y="3502387"/>
            <a:ext cx="2336651" cy="2769175"/>
          </a:xfrm>
          <a:prstGeom prst="rect">
            <a:avLst/>
          </a:prstGeom>
        </p:spPr>
      </p:pic>
      <p:sp>
        <p:nvSpPr>
          <p:cNvPr id="44" name="矩形: 圆角 30">
            <a:extLst>
              <a:ext uri="{FF2B5EF4-FFF2-40B4-BE49-F238E27FC236}">
                <a16:creationId xmlns:a16="http://schemas.microsoft.com/office/drawing/2014/main" id="{FE557F12-4F63-4744-88FD-857E1C5CB9D5}"/>
              </a:ext>
            </a:extLst>
          </p:cNvPr>
          <p:cNvSpPr/>
          <p:nvPr/>
        </p:nvSpPr>
        <p:spPr>
          <a:xfrm>
            <a:off x="1034739" y="1423396"/>
            <a:ext cx="6593603" cy="3627969"/>
          </a:xfrm>
          <a:prstGeom prst="roundRect">
            <a:avLst>
              <a:gd name="adj" fmla="val 38426"/>
            </a:avLst>
          </a:prstGeom>
          <a:solidFill>
            <a:srgbClr val="FFFFFF">
              <a:alpha val="74000"/>
            </a:srgbClr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zh-CN" altLang="en-US" sz="8000" kern="0" dirty="0">
              <a:solidFill>
                <a:srgbClr val="000000"/>
              </a:solidFill>
              <a:effectLst>
                <a:outerShdw blurRad="25400" dist="25400" dir="2700000" algn="tl" rotWithShape="0">
                  <a:prstClr val="black">
                    <a:alpha val="40000"/>
                  </a:prstClr>
                </a:outerShdw>
              </a:effectLst>
              <a:latin typeface="字魂80号-萌趣小鱼体" panose="00000500000000000000" pitchFamily="2" charset="-122"/>
              <a:ea typeface="字魂80号-萌趣小鱼体" panose="00000500000000000000" pitchFamily="2" charset="-122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EB2DEAE-00F5-484F-957F-F357C2AA37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23073" y="2232492"/>
            <a:ext cx="3828620" cy="23532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C0D1386-9CE0-42B6-923A-6B27D6478A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69AC42E-E1D5-40C3-9C3B-6094E216986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883105" y="2336016"/>
            <a:ext cx="3196671" cy="25746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BDD4E7-0F1D-441D-BBF6-4A1714DC0AD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83388" y="231901"/>
            <a:ext cx="6143898" cy="39683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E322FD-82E5-4F3A-8E3A-B0933F7E1E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01425" y="466158"/>
            <a:ext cx="3065509" cy="2639248"/>
          </a:xfrm>
          <a:prstGeom prst="rect">
            <a:avLst/>
          </a:prstGeom>
        </p:spPr>
      </p:pic>
      <p:pic>
        <p:nvPicPr>
          <p:cNvPr id="34" name="08 NK PowerSkills">
            <a:extLst>
              <a:ext uri="{FF2B5EF4-FFF2-40B4-BE49-F238E27FC236}">
                <a16:creationId xmlns:a16="http://schemas.microsoft.com/office/drawing/2014/main" id="{DCB5D815-D022-4B3B-9655-C8392A9D4C3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03352" y="3921306"/>
            <a:ext cx="4042557" cy="1482397"/>
          </a:xfrm>
          <a:prstGeom prst="rect">
            <a:avLst/>
          </a:prstGeom>
        </p:spPr>
      </p:pic>
      <p:pic>
        <p:nvPicPr>
          <p:cNvPr id="11" name="Picture 4" descr="Alamart.vn – Dịch vụ thiết kế website chuẩn SEO uy tín">
            <a:extLst>
              <a:ext uri="{FF2B5EF4-FFF2-40B4-BE49-F238E27FC236}">
                <a16:creationId xmlns:a16="http://schemas.microsoft.com/office/drawing/2014/main" id="{70F488DF-6096-4F00-A55E-1A84D07085C1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225" y="3200333"/>
            <a:ext cx="877029" cy="84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Rose Cartoon Flowers Flowers Bouquet Vase, Bouquet Clipart, Bouquet, Petal  PNG and Vector with Transparent Background for Free Download">
            <a:extLst>
              <a:ext uri="{FF2B5EF4-FFF2-40B4-BE49-F238E27FC236}">
                <a16:creationId xmlns:a16="http://schemas.microsoft.com/office/drawing/2014/main" id="{C90A8D53-5B78-490F-9574-531993F119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61839">
            <a:off x="6194186" y="2882064"/>
            <a:ext cx="1522997" cy="152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ED16C103-87C1-4C73-86AF-BEF0FE9191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601937">
            <a:off x="6554571" y="3063214"/>
            <a:ext cx="1269793" cy="1467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Collection Of Cartoon Gift Box - Gift Vector (2297x2327)">
            <a:extLst>
              <a:ext uri="{FF2B5EF4-FFF2-40B4-BE49-F238E27FC236}">
                <a16:creationId xmlns:a16="http://schemas.microsoft.com/office/drawing/2014/main" id="{E638DC3D-B7DF-499C-83B6-0B978FC7FE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445" y="3422903"/>
            <a:ext cx="710360" cy="719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114D070-D9AA-4B4B-954B-04BC83F1D8D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402381" y="2983714"/>
            <a:ext cx="855680" cy="855680"/>
          </a:xfrm>
          <a:prstGeom prst="rect">
            <a:avLst/>
          </a:prstGeom>
        </p:spPr>
      </p:pic>
      <p:pic>
        <p:nvPicPr>
          <p:cNvPr id="56" name="16 NK PowerSkills" descr="Box Cartoon Vector Images (over 110,000)">
            <a:extLst>
              <a:ext uri="{FF2B5EF4-FFF2-40B4-BE49-F238E27FC236}">
                <a16:creationId xmlns:a16="http://schemas.microsoft.com/office/drawing/2014/main" id="{858F5FC6-C58B-4E19-A1B8-C55548205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0" b="100000" l="0" r="9705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459" y="3309404"/>
            <a:ext cx="793194" cy="833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Alamart.vn – Dịch vụ thiết kế website chuẩn SEO uy tín">
            <a:extLst>
              <a:ext uri="{FF2B5EF4-FFF2-40B4-BE49-F238E27FC236}">
                <a16:creationId xmlns:a16="http://schemas.microsoft.com/office/drawing/2014/main" id="{68B4129D-ED7E-40FF-A455-6D3A5720962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116" y="3029687"/>
            <a:ext cx="746193" cy="719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22 NK PowerSkills">
            <a:extLst>
              <a:ext uri="{FF2B5EF4-FFF2-40B4-BE49-F238E27FC236}">
                <a16:creationId xmlns:a16="http://schemas.microsoft.com/office/drawing/2014/main" id="{D6F3AFFB-781B-4925-A9E0-EBB219E924B2}"/>
              </a:ext>
            </a:extLst>
          </p:cNvPr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754922">
            <a:off x="8128989" y="244374"/>
            <a:ext cx="4552937" cy="1678262"/>
          </a:xfrm>
          <a:prstGeom prst="rect">
            <a:avLst/>
          </a:prstGeom>
        </p:spPr>
      </p:pic>
      <p:pic>
        <p:nvPicPr>
          <p:cNvPr id="77" name="21 NK PowerSkills">
            <a:extLst>
              <a:ext uri="{FF2B5EF4-FFF2-40B4-BE49-F238E27FC236}">
                <a16:creationId xmlns:a16="http://schemas.microsoft.com/office/drawing/2014/main" id="{2D59815D-A65F-41A8-A328-30AD7E42C4F5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21031306">
            <a:off x="-59616" y="383011"/>
            <a:ext cx="3499012" cy="147922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E12D08AE-7FB7-42FA-9864-B368C6F7539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5928" y="1460331"/>
            <a:ext cx="3252334" cy="4325971"/>
          </a:xfrm>
          <a:prstGeom prst="rect">
            <a:avLst/>
          </a:prstGeom>
        </p:spPr>
      </p:pic>
      <p:pic>
        <p:nvPicPr>
          <p:cNvPr id="102" name="j">
            <a:extLst>
              <a:ext uri="{FF2B5EF4-FFF2-40B4-BE49-F238E27FC236}">
                <a16:creationId xmlns:a16="http://schemas.microsoft.com/office/drawing/2014/main" id="{B886C9FD-D232-4217-91A9-1A0F09504F9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10000" b="90000" l="10000" r="90000">
                        <a14:foregroundMark x1="62300" y1="41111" x2="62000" y2="41852"/>
                        <a14:foregroundMark x1="63200" y1="40000" x2="62300" y2="42037"/>
                        <a14:foregroundMark x1="70100" y1="42963" x2="68800" y2="4342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0083" y="2465826"/>
            <a:ext cx="2911020" cy="3143902"/>
          </a:xfrm>
          <a:prstGeom prst="rect">
            <a:avLst/>
          </a:prstGeom>
        </p:spPr>
      </p:pic>
      <p:pic>
        <p:nvPicPr>
          <p:cNvPr id="103" name="g">
            <a:extLst>
              <a:ext uri="{FF2B5EF4-FFF2-40B4-BE49-F238E27FC236}">
                <a16:creationId xmlns:a16="http://schemas.microsoft.com/office/drawing/2014/main" id="{C04EFFB7-66B8-4EB6-A0E3-DFDA42F2D1F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2111341" y="2453906"/>
            <a:ext cx="2911020" cy="3140990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0EF8552C-65B6-4EC3-ACC3-460DF5C0C2C4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9125" b="82125" l="16552" r="90728"/>
                    </a14:imgEffect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00" t="10000" r="10161" b="18611"/>
          <a:stretch/>
        </p:blipFill>
        <p:spPr>
          <a:xfrm flipH="1">
            <a:off x="-144933" y="3209636"/>
            <a:ext cx="2275170" cy="241822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E845F54-C84E-491B-85C3-CCC298460214}"/>
              </a:ext>
            </a:extLst>
          </p:cNvPr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621"/>
          <a:stretch/>
        </p:blipFill>
        <p:spPr>
          <a:xfrm>
            <a:off x="-157528" y="5326706"/>
            <a:ext cx="12192000" cy="1494262"/>
          </a:xfrm>
          <a:prstGeom prst="rect">
            <a:avLst/>
          </a:prstGeom>
        </p:spPr>
      </p:pic>
      <p:pic>
        <p:nvPicPr>
          <p:cNvPr id="63" name="11 NK PowerSkills">
            <a:extLst>
              <a:ext uri="{FF2B5EF4-FFF2-40B4-BE49-F238E27FC236}">
                <a16:creationId xmlns:a16="http://schemas.microsoft.com/office/drawing/2014/main" id="{5D1BEF53-15A7-42F1-8AEA-CBCD5C785B4E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766" y="4458325"/>
            <a:ext cx="636091" cy="1060842"/>
          </a:xfrm>
          <a:prstGeom prst="rect">
            <a:avLst/>
          </a:prstGeom>
        </p:spPr>
      </p:pic>
      <p:pic>
        <p:nvPicPr>
          <p:cNvPr id="64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98D163F3-4B5B-414C-9F93-1A9960324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456" y="4803871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C3D9AD99-0260-46B5-A62B-DCA3209F2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799" y="4829971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F64BADFB-8C92-49A6-8F5A-637EE8D02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7604" y="4815010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12 NK PowerSkills">
            <a:extLst>
              <a:ext uri="{FF2B5EF4-FFF2-40B4-BE49-F238E27FC236}">
                <a16:creationId xmlns:a16="http://schemas.microsoft.com/office/drawing/2014/main" id="{AC1EA914-BE76-4B27-B19B-FE7A8C722424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665" y="4435326"/>
            <a:ext cx="689430" cy="1149051"/>
          </a:xfrm>
          <a:prstGeom prst="rect">
            <a:avLst/>
          </a:prstGeom>
        </p:spPr>
      </p:pic>
      <p:pic>
        <p:nvPicPr>
          <p:cNvPr id="72" name="17 NK PowerSkills" descr="Coca Cola Logo - Coca Cola Cup Vector , Transparent Cartoon, Free Cliparts  &amp; Silhouettes - NetClipart">
            <a:extLst>
              <a:ext uri="{FF2B5EF4-FFF2-40B4-BE49-F238E27FC236}">
                <a16:creationId xmlns:a16="http://schemas.microsoft.com/office/drawing/2014/main" id="{9997D7E6-CA3F-43A4-B0C5-B0D2EF849E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5886" y="4415677"/>
            <a:ext cx="678201" cy="1113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A6CC25A2-FD50-41D7-BFCA-7AD4D1D95F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026" y="5725415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12 NK PowerSkills">
            <a:extLst>
              <a:ext uri="{FF2B5EF4-FFF2-40B4-BE49-F238E27FC236}">
                <a16:creationId xmlns:a16="http://schemas.microsoft.com/office/drawing/2014/main" id="{60AC4F90-1E6F-46C7-B05F-53A28507AAAB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066" y="5336305"/>
            <a:ext cx="689430" cy="1149051"/>
          </a:xfrm>
          <a:prstGeom prst="rect">
            <a:avLst/>
          </a:prstGeom>
        </p:spPr>
      </p:pic>
      <p:pic>
        <p:nvPicPr>
          <p:cNvPr id="93" name="11 NK PowerSkills">
            <a:extLst>
              <a:ext uri="{FF2B5EF4-FFF2-40B4-BE49-F238E27FC236}">
                <a16:creationId xmlns:a16="http://schemas.microsoft.com/office/drawing/2014/main" id="{C501A2A9-C596-4346-920D-CA7336B175FF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7869" y="5365628"/>
            <a:ext cx="636091" cy="1060842"/>
          </a:xfrm>
          <a:prstGeom prst="rect">
            <a:avLst/>
          </a:prstGeom>
        </p:spPr>
      </p:pic>
      <p:pic>
        <p:nvPicPr>
          <p:cNvPr id="94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65B74319-3FF3-47D2-AE31-35224EF83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0941" y="5731598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E8C55C65-1039-4C62-8F69-07FF8A0BC3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5759578" y="4707775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52D275A9-49B0-48E7-9C13-6ABDD9EDA9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2679398" y="4681674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C81539D3-7795-48D3-AF8F-914D38D45B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8297082" y="4699331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D0D68751-C190-483A-9EBE-3FC8DF0CDE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9818279" y="5653782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09EC71CC-DC70-424A-9D4C-18B3396639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1221164" y="5627863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ĐH" descr="Scripted Clock Animation - Openclipart">
            <a:extLst>
              <a:ext uri="{FF2B5EF4-FFF2-40B4-BE49-F238E27FC236}">
                <a16:creationId xmlns:a16="http://schemas.microsoft.com/office/drawing/2014/main" id="{699969AE-865C-4149-8D9F-202BF3FCF1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53" y="112639"/>
            <a:ext cx="1357773" cy="135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127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7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8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9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0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1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2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3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4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5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6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7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8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9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0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41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2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3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45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6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47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8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9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C0D1386-9CE0-42B6-923A-6B27D6478A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69AC42E-E1D5-40C3-9C3B-6094E216986F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883105" y="2336016"/>
            <a:ext cx="3196671" cy="25746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BDD4E7-0F1D-441D-BBF6-4A1714DC0ADC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83388" y="231901"/>
            <a:ext cx="6143898" cy="39683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E322FD-82E5-4F3A-8E3A-B0933F7E1E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01425" y="466158"/>
            <a:ext cx="3065509" cy="2639248"/>
          </a:xfrm>
          <a:prstGeom prst="rect">
            <a:avLst/>
          </a:prstGeom>
        </p:spPr>
      </p:pic>
      <p:pic>
        <p:nvPicPr>
          <p:cNvPr id="34" name="08 NK PowerSkills">
            <a:extLst>
              <a:ext uri="{FF2B5EF4-FFF2-40B4-BE49-F238E27FC236}">
                <a16:creationId xmlns:a16="http://schemas.microsoft.com/office/drawing/2014/main" id="{DCB5D815-D022-4B3B-9655-C8392A9D4C35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03352" y="3921306"/>
            <a:ext cx="4042557" cy="1482397"/>
          </a:xfrm>
          <a:prstGeom prst="rect">
            <a:avLst/>
          </a:prstGeom>
        </p:spPr>
      </p:pic>
      <p:pic>
        <p:nvPicPr>
          <p:cNvPr id="11" name="Picture 4" descr="Alamart.vn – Dịch vụ thiết kế website chuẩn SEO uy tín">
            <a:extLst>
              <a:ext uri="{FF2B5EF4-FFF2-40B4-BE49-F238E27FC236}">
                <a16:creationId xmlns:a16="http://schemas.microsoft.com/office/drawing/2014/main" id="{70F488DF-6096-4F00-A55E-1A84D07085C1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225" y="3200333"/>
            <a:ext cx="877029" cy="84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Rose Cartoon Flowers Flowers Bouquet Vase, Bouquet Clipart, Bouquet, Petal  PNG and Vector with Transparent Background for Free Download">
            <a:extLst>
              <a:ext uri="{FF2B5EF4-FFF2-40B4-BE49-F238E27FC236}">
                <a16:creationId xmlns:a16="http://schemas.microsoft.com/office/drawing/2014/main" id="{C90A8D53-5B78-490F-9574-531993F119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61839">
            <a:off x="6194186" y="2882064"/>
            <a:ext cx="1522997" cy="152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ED16C103-87C1-4C73-86AF-BEF0FE9191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601937">
            <a:off x="6554571" y="3063214"/>
            <a:ext cx="1269793" cy="1467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Collection Of Cartoon Gift Box - Gift Vector (2297x2327)">
            <a:extLst>
              <a:ext uri="{FF2B5EF4-FFF2-40B4-BE49-F238E27FC236}">
                <a16:creationId xmlns:a16="http://schemas.microsoft.com/office/drawing/2014/main" id="{E638DC3D-B7DF-499C-83B6-0B978FC7FE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445" y="3422903"/>
            <a:ext cx="710360" cy="719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114D070-D9AA-4B4B-954B-04BC83F1D8D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02381" y="2983714"/>
            <a:ext cx="855680" cy="855680"/>
          </a:xfrm>
          <a:prstGeom prst="rect">
            <a:avLst/>
          </a:prstGeom>
        </p:spPr>
      </p:pic>
      <p:pic>
        <p:nvPicPr>
          <p:cNvPr id="56" name="16 NK PowerSkills" descr="Box Cartoon Vector Images (over 110,000)">
            <a:extLst>
              <a:ext uri="{FF2B5EF4-FFF2-40B4-BE49-F238E27FC236}">
                <a16:creationId xmlns:a16="http://schemas.microsoft.com/office/drawing/2014/main" id="{858F5FC6-C58B-4E19-A1B8-C55548205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100000" l="0" r="9705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459" y="3309404"/>
            <a:ext cx="793194" cy="833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Alamart.vn – Dịch vụ thiết kế website chuẩn SEO uy tín">
            <a:extLst>
              <a:ext uri="{FF2B5EF4-FFF2-40B4-BE49-F238E27FC236}">
                <a16:creationId xmlns:a16="http://schemas.microsoft.com/office/drawing/2014/main" id="{68B4129D-ED7E-40FF-A455-6D3A5720962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116" y="3029687"/>
            <a:ext cx="746193" cy="719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Free Cartoon Balloon Png, Download Free Cartoon Balloon Png png images,  Free ClipArts on Clipart Library">
            <a:extLst>
              <a:ext uri="{FF2B5EF4-FFF2-40B4-BE49-F238E27FC236}">
                <a16:creationId xmlns:a16="http://schemas.microsoft.com/office/drawing/2014/main" id="{5256E05B-6BA5-47D2-B296-2D2598B77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7003" y="1247765"/>
            <a:ext cx="1372975" cy="284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8" descr="Free Cartoon Balloon Png, Download Free Cartoon Balloon Png png images,  Free ClipArts on Clipart Library">
            <a:extLst>
              <a:ext uri="{FF2B5EF4-FFF2-40B4-BE49-F238E27FC236}">
                <a16:creationId xmlns:a16="http://schemas.microsoft.com/office/drawing/2014/main" id="{C318BAEC-A06C-41B9-BE27-B440AA719C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7202" y="1267305"/>
            <a:ext cx="1372975" cy="284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22 NK PowerSkills">
            <a:extLst>
              <a:ext uri="{FF2B5EF4-FFF2-40B4-BE49-F238E27FC236}">
                <a16:creationId xmlns:a16="http://schemas.microsoft.com/office/drawing/2014/main" id="{D6F3AFFB-781B-4925-A9E0-EBB219E924B2}"/>
              </a:ext>
            </a:extLst>
          </p:cNvPr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754922">
            <a:off x="8128989" y="244374"/>
            <a:ext cx="4552937" cy="1678262"/>
          </a:xfrm>
          <a:prstGeom prst="rect">
            <a:avLst/>
          </a:prstGeom>
        </p:spPr>
      </p:pic>
      <p:pic>
        <p:nvPicPr>
          <p:cNvPr id="77" name="21 NK PowerSkills">
            <a:extLst>
              <a:ext uri="{FF2B5EF4-FFF2-40B4-BE49-F238E27FC236}">
                <a16:creationId xmlns:a16="http://schemas.microsoft.com/office/drawing/2014/main" id="{2D59815D-A65F-41A8-A328-30AD7E42C4F5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21031306">
            <a:off x="-59616" y="383011"/>
            <a:ext cx="3499012" cy="147922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1C67DD01-AB38-43A9-B115-A407EF568103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48"/>
          <a:stretch/>
        </p:blipFill>
        <p:spPr>
          <a:xfrm>
            <a:off x="136255" y="3067943"/>
            <a:ext cx="1522627" cy="184200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900BB999-1F9E-44E5-8FFB-B36E2FC18C07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17"/>
          <a:stretch/>
        </p:blipFill>
        <p:spPr>
          <a:xfrm>
            <a:off x="1332536" y="3029687"/>
            <a:ext cx="1297950" cy="1842009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E12D08AE-7FB7-42FA-9864-B368C6F75395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78316" y="1491516"/>
            <a:ext cx="3252334" cy="4325971"/>
          </a:xfrm>
          <a:prstGeom prst="rect">
            <a:avLst/>
          </a:prstGeom>
        </p:spPr>
      </p:pic>
      <p:pic>
        <p:nvPicPr>
          <p:cNvPr id="102" name="j">
            <a:extLst>
              <a:ext uri="{FF2B5EF4-FFF2-40B4-BE49-F238E27FC236}">
                <a16:creationId xmlns:a16="http://schemas.microsoft.com/office/drawing/2014/main" id="{B886C9FD-D232-4217-91A9-1A0F09504F9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10000" b="90000" l="10000" r="90000">
                        <a14:foregroundMark x1="62300" y1="41111" x2="62000" y2="41852"/>
                        <a14:foregroundMark x1="63200" y1="40000" x2="62300" y2="42037"/>
                        <a14:foregroundMark x1="70100" y1="42963" x2="68800" y2="4342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137192" y="2795167"/>
            <a:ext cx="2911020" cy="3143902"/>
          </a:xfrm>
          <a:prstGeom prst="rect">
            <a:avLst/>
          </a:prstGeom>
        </p:spPr>
      </p:pic>
      <p:pic>
        <p:nvPicPr>
          <p:cNvPr id="103" name="g">
            <a:extLst>
              <a:ext uri="{FF2B5EF4-FFF2-40B4-BE49-F238E27FC236}">
                <a16:creationId xmlns:a16="http://schemas.microsoft.com/office/drawing/2014/main" id="{C04EFFB7-66B8-4EB6-A0E3-DFDA42F2D1F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4209435" y="2512792"/>
            <a:ext cx="2911020" cy="3140990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0EF8552C-65B6-4EC3-ACC3-460DF5C0C2C4}"/>
              </a:ext>
            </a:extLst>
          </p:cNvPr>
          <p:cNvPicPr>
            <a:picLocks noChangeAspect="1"/>
          </p:cNvPicPr>
          <p:nvPr/>
        </p:nvPicPr>
        <p:blipFill rotWithShape="1">
          <a:blip r:embed="rId28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ackgroundRemoval t="9125" b="82125" l="16552" r="90728"/>
                    </a14:imgEffect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00" t="10000" r="10161" b="18611"/>
          <a:stretch/>
        </p:blipFill>
        <p:spPr>
          <a:xfrm flipH="1">
            <a:off x="-5536734" y="2989460"/>
            <a:ext cx="2275170" cy="241822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E845F54-C84E-491B-85C3-CCC298460214}"/>
              </a:ext>
            </a:extLst>
          </p:cNvPr>
          <p:cNvPicPr>
            <a:picLocks noChangeAspect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621"/>
          <a:stretch/>
        </p:blipFill>
        <p:spPr>
          <a:xfrm>
            <a:off x="-157528" y="5326706"/>
            <a:ext cx="12192000" cy="1494262"/>
          </a:xfrm>
          <a:prstGeom prst="rect">
            <a:avLst/>
          </a:prstGeom>
        </p:spPr>
      </p:pic>
      <p:pic>
        <p:nvPicPr>
          <p:cNvPr id="63" name="11 NK PowerSkills">
            <a:extLst>
              <a:ext uri="{FF2B5EF4-FFF2-40B4-BE49-F238E27FC236}">
                <a16:creationId xmlns:a16="http://schemas.microsoft.com/office/drawing/2014/main" id="{5D1BEF53-15A7-42F1-8AEA-CBCD5C785B4E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766" y="4458325"/>
            <a:ext cx="636091" cy="1060842"/>
          </a:xfrm>
          <a:prstGeom prst="rect">
            <a:avLst/>
          </a:prstGeom>
        </p:spPr>
      </p:pic>
      <p:pic>
        <p:nvPicPr>
          <p:cNvPr id="64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98D163F3-4B5B-414C-9F93-1A9960324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456" y="4803871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C3D9AD99-0260-46B5-A62B-DCA3209F2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799" y="4829971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F64BADFB-8C92-49A6-8F5A-637EE8D02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7604" y="4815010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12 NK PowerSkills">
            <a:extLst>
              <a:ext uri="{FF2B5EF4-FFF2-40B4-BE49-F238E27FC236}">
                <a16:creationId xmlns:a16="http://schemas.microsoft.com/office/drawing/2014/main" id="{AC1EA914-BE76-4B27-B19B-FE7A8C722424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665" y="4435326"/>
            <a:ext cx="689430" cy="1149051"/>
          </a:xfrm>
          <a:prstGeom prst="rect">
            <a:avLst/>
          </a:prstGeom>
        </p:spPr>
      </p:pic>
      <p:pic>
        <p:nvPicPr>
          <p:cNvPr id="72" name="17 NK PowerSkills" descr="Coca Cola Logo - Coca Cola Cup Vector , Transparent Cartoon, Free Cliparts  &amp; Silhouettes - NetClipart">
            <a:extLst>
              <a:ext uri="{FF2B5EF4-FFF2-40B4-BE49-F238E27FC236}">
                <a16:creationId xmlns:a16="http://schemas.microsoft.com/office/drawing/2014/main" id="{9997D7E6-CA3F-43A4-B0C5-B0D2EF849E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5886" y="4415677"/>
            <a:ext cx="678201" cy="1113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A6CC25A2-FD50-41D7-BFCA-7AD4D1D95F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026" y="5725415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12 NK PowerSkills">
            <a:extLst>
              <a:ext uri="{FF2B5EF4-FFF2-40B4-BE49-F238E27FC236}">
                <a16:creationId xmlns:a16="http://schemas.microsoft.com/office/drawing/2014/main" id="{60AC4F90-1E6F-46C7-B05F-53A28507AAAB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066" y="5336305"/>
            <a:ext cx="689430" cy="1149051"/>
          </a:xfrm>
          <a:prstGeom prst="rect">
            <a:avLst/>
          </a:prstGeom>
        </p:spPr>
      </p:pic>
      <p:pic>
        <p:nvPicPr>
          <p:cNvPr id="93" name="11 NK PowerSkills">
            <a:extLst>
              <a:ext uri="{FF2B5EF4-FFF2-40B4-BE49-F238E27FC236}">
                <a16:creationId xmlns:a16="http://schemas.microsoft.com/office/drawing/2014/main" id="{C501A2A9-C596-4346-920D-CA7336B175FF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7869" y="5365628"/>
            <a:ext cx="636091" cy="1060842"/>
          </a:xfrm>
          <a:prstGeom prst="rect">
            <a:avLst/>
          </a:prstGeom>
        </p:spPr>
      </p:pic>
      <p:pic>
        <p:nvPicPr>
          <p:cNvPr id="94" name="10 NK PowerSkills" descr="French Fries Fast Food French Cuisine Fried Chicken - French Fries ,  Transparent Cartoon - Jing.fm">
            <a:extLst>
              <a:ext uri="{FF2B5EF4-FFF2-40B4-BE49-F238E27FC236}">
                <a16:creationId xmlns:a16="http://schemas.microsoft.com/office/drawing/2014/main" id="{65B74319-3FF3-47D2-AE31-35224EF83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0941" y="5731598"/>
            <a:ext cx="497993" cy="71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E8C55C65-1039-4C62-8F69-07FF8A0BC3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5759578" y="4707775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52D275A9-49B0-48E7-9C13-6ABDD9EDA9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2679398" y="4681674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C81539D3-7795-48D3-AF8F-914D38D45B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8297082" y="4699331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D0D68751-C190-483A-9EBE-3FC8DF0CDE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9818279" y="5653782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09 NK PowerSkills" descr="Fried Chicken Leg Bucket cursor â Custom Cursor browser extension">
            <a:extLst>
              <a:ext uri="{FF2B5EF4-FFF2-40B4-BE49-F238E27FC236}">
                <a16:creationId xmlns:a16="http://schemas.microsoft.com/office/drawing/2014/main" id="{09EC71CC-DC70-424A-9D4C-18B3396639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32"/>
          <a:stretch/>
        </p:blipFill>
        <p:spPr bwMode="auto">
          <a:xfrm>
            <a:off x="1221164" y="5627863"/>
            <a:ext cx="905218" cy="95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12">
            <a:hlinkClick r:id="rId36" action="ppaction://hlinksldjump"/>
            <a:extLst>
              <a:ext uri="{FF2B5EF4-FFF2-40B4-BE49-F238E27FC236}">
                <a16:creationId xmlns:a16="http://schemas.microsoft.com/office/drawing/2014/main" id="{1ECCD705-B070-46A3-A65D-220380946978}"/>
              </a:ext>
            </a:extLst>
          </p:cNvPr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832" y="575104"/>
            <a:ext cx="777069" cy="764880"/>
          </a:xfrm>
          <a:prstGeom prst="rect">
            <a:avLst/>
          </a:prstGeom>
        </p:spPr>
      </p:pic>
      <p:pic>
        <p:nvPicPr>
          <p:cNvPr id="114" name="3">
            <a:hlinkClick r:id="rId38" action="ppaction://hlinksldjump"/>
            <a:extLst>
              <a:ext uri="{FF2B5EF4-FFF2-40B4-BE49-F238E27FC236}">
                <a16:creationId xmlns:a16="http://schemas.microsoft.com/office/drawing/2014/main" id="{D085228D-81A8-4391-8851-141A3E44784A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9688" y="553685"/>
            <a:ext cx="795660" cy="786299"/>
          </a:xfrm>
          <a:prstGeom prst="rect">
            <a:avLst/>
          </a:prstGeom>
        </p:spPr>
      </p:pic>
      <p:pic>
        <p:nvPicPr>
          <p:cNvPr id="115" name="Picture 114">
            <a:hlinkClick r:id="rId40" action="ppaction://hlinksldjump"/>
            <a:extLst>
              <a:ext uri="{FF2B5EF4-FFF2-40B4-BE49-F238E27FC236}">
                <a16:creationId xmlns:a16="http://schemas.microsoft.com/office/drawing/2014/main" id="{3891E049-245B-4634-9839-2245110E5B68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433" y="562791"/>
            <a:ext cx="783361" cy="777193"/>
          </a:xfrm>
          <a:prstGeom prst="rect">
            <a:avLst/>
          </a:prstGeom>
        </p:spPr>
      </p:pic>
      <p:pic>
        <p:nvPicPr>
          <p:cNvPr id="116" name="Picture 115">
            <a:hlinkClick r:id="rId42" action="ppaction://hlinksldjump"/>
            <a:extLst>
              <a:ext uri="{FF2B5EF4-FFF2-40B4-BE49-F238E27FC236}">
                <a16:creationId xmlns:a16="http://schemas.microsoft.com/office/drawing/2014/main" id="{2EE908F7-740A-40E1-92C3-625B386B8A06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374" y="584338"/>
            <a:ext cx="767688" cy="755646"/>
          </a:xfrm>
          <a:prstGeom prst="rect">
            <a:avLst/>
          </a:prstGeom>
        </p:spPr>
      </p:pic>
      <p:pic>
        <p:nvPicPr>
          <p:cNvPr id="117" name="2">
            <a:hlinkClick r:id="rId44" action="ppaction://hlinksldjump"/>
            <a:extLst>
              <a:ext uri="{FF2B5EF4-FFF2-40B4-BE49-F238E27FC236}">
                <a16:creationId xmlns:a16="http://schemas.microsoft.com/office/drawing/2014/main" id="{F8622017-9A64-417B-9D61-85F8EC508825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0173" y="587416"/>
            <a:ext cx="764561" cy="752568"/>
          </a:xfrm>
          <a:prstGeom prst="rect">
            <a:avLst/>
          </a:prstGeom>
        </p:spPr>
      </p:pic>
      <p:pic>
        <p:nvPicPr>
          <p:cNvPr id="118" name="Picture 117">
            <a:hlinkClick r:id="rId46" action="ppaction://hlinksldjump"/>
            <a:extLst>
              <a:ext uri="{FF2B5EF4-FFF2-40B4-BE49-F238E27FC236}">
                <a16:creationId xmlns:a16="http://schemas.microsoft.com/office/drawing/2014/main" id="{E61FC25A-7D5F-442F-957E-9859E2EA9D8A}"/>
              </a:ext>
            </a:extLst>
          </p:cNvPr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0954" y="599728"/>
            <a:ext cx="749068" cy="740256"/>
          </a:xfrm>
          <a:prstGeom prst="rect">
            <a:avLst/>
          </a:prstGeom>
        </p:spPr>
      </p:pic>
      <p:pic>
        <p:nvPicPr>
          <p:cNvPr id="119" name="Picture 118">
            <a:hlinkClick r:id="rId48" action="ppaction://hlinksldjump"/>
            <a:extLst>
              <a:ext uri="{FF2B5EF4-FFF2-40B4-BE49-F238E27FC236}">
                <a16:creationId xmlns:a16="http://schemas.microsoft.com/office/drawing/2014/main" id="{C8E4E461-BD1E-4A4C-ABFD-D8BAAAC76D35}"/>
              </a:ext>
            </a:extLst>
          </p:cNvPr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1827" y="584338"/>
            <a:ext cx="761643" cy="755646"/>
          </a:xfrm>
          <a:prstGeom prst="rect">
            <a:avLst/>
          </a:prstGeom>
        </p:spPr>
      </p:pic>
      <p:pic>
        <p:nvPicPr>
          <p:cNvPr id="120" name="1">
            <a:hlinkClick r:id="rId50" action="ppaction://hlinksldjump"/>
            <a:extLst>
              <a:ext uri="{FF2B5EF4-FFF2-40B4-BE49-F238E27FC236}">
                <a16:creationId xmlns:a16="http://schemas.microsoft.com/office/drawing/2014/main" id="{9316EA98-6478-4597-80E6-121D0F56726D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8858" y="556636"/>
            <a:ext cx="792710" cy="783348"/>
          </a:xfrm>
          <a:prstGeom prst="rect">
            <a:avLst/>
          </a:prstGeom>
        </p:spPr>
      </p:pic>
      <p:pic>
        <p:nvPicPr>
          <p:cNvPr id="22" name="Picture 12" descr="Káº¿t quáº£ hÃ¬nh áº£nh cho win text gif">
            <a:extLst>
              <a:ext uri="{FF2B5EF4-FFF2-40B4-BE49-F238E27FC236}">
                <a16:creationId xmlns:a16="http://schemas.microsoft.com/office/drawing/2014/main" id="{8399B0FC-A051-4398-9580-AB12561D9420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0377" y="1328373"/>
            <a:ext cx="3538343" cy="3538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ĐH" descr="Scripted Clock Animation - Openclipart">
            <a:extLst>
              <a:ext uri="{FF2B5EF4-FFF2-40B4-BE49-F238E27FC236}">
                <a16:creationId xmlns:a16="http://schemas.microsoft.com/office/drawing/2014/main" id="{699969AE-865C-4149-8D9F-202BF3FCF1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20" y="137583"/>
            <a:ext cx="1202401" cy="1202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: Rounded Corners 1">
            <a:hlinkClick r:id="rId54" action="ppaction://hlinksldjump"/>
            <a:extLst>
              <a:ext uri="{FF2B5EF4-FFF2-40B4-BE49-F238E27FC236}">
                <a16:creationId xmlns:a16="http://schemas.microsoft.com/office/drawing/2014/main" id="{D62A017A-6D6B-4201-AAB9-334264332CB2}"/>
              </a:ext>
            </a:extLst>
          </p:cNvPr>
          <p:cNvSpPr/>
          <p:nvPr/>
        </p:nvSpPr>
        <p:spPr>
          <a:xfrm>
            <a:off x="10734261" y="178905"/>
            <a:ext cx="1182756" cy="43732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Học</a:t>
            </a:r>
            <a:r>
              <a:rPr lang="en-US" dirty="0"/>
              <a:t> </a:t>
            </a:r>
            <a:r>
              <a:rPr lang="en-US" dirty="0" err="1"/>
              <a:t>tiế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321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0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1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2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3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4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4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4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4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53" restart="whenNotActive" fill="hold" evtFilter="cancelBubble" nodeType="interactiveSeq">
                <p:stCondLst>
                  <p:cond evt="onClick" delay="0">
                    <p:tgtEl>
                      <p:spTgt spid="102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4" fill="hold">
                      <p:stCondLst>
                        <p:cond delay="0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6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phep-thuat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 tmFilter="0, 0; .2, .5; .8, .5; 1, 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4" dur="250" autoRev="1" fill="hold"/>
                                        <p:tgtEl>
                                          <p:spTgt spid="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 tmFilter="0, 0; .2, .5; .8, .5; 1, 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7" dur="250" autoRev="1" fill="hold"/>
                                        <p:tgtEl>
                                          <p:spTgt spid="1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 tmFilter="0, 0; .2, .5; .8, .5; 1, 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0" dur="250" autoRev="1" fill="hold"/>
                                        <p:tgtEl>
                                          <p:spTgt spid="5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1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 tmFilter="0, 0; .2, .5; .8, .5; 1, 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3" dur="250" autoRev="1" fill="hold"/>
                                        <p:tgtEl>
                                          <p:spTgt spid="103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4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6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8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phep-thuat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00"/>
                            </p:stCondLst>
                            <p:childTnLst>
                              <p:par>
                                <p:cTn id="9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500" tmFilter="0, 0; .2, .5; .8, .5; 1, 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8" dur="250" autoRev="1" fill="hold"/>
                                        <p:tgtEl>
                                          <p:spTgt spid="103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0" dur="500" tmFilter="0, 0; .2, .5; .8, .5; 1, 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1" dur="250" autoRev="1" fill="hold"/>
                                        <p:tgtEl>
                                          <p:spTgt spid="10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04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phep-thuat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10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10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1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7" dur="25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9" dur="500" tmFilter="0, 0; .2, .5; .8, .5; 1, 0"/>
                                        <p:tgtEl>
                                          <p:spTgt spid="104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0" dur="250" autoRev="1" fill="hold"/>
                                        <p:tgtEl>
                                          <p:spTgt spid="104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23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phep-thuat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12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500"/>
                            </p:stCondLst>
                            <p:childTnLst>
                              <p:par>
                                <p:cTn id="134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 tmFilter="0, 0; .2, .5; .8, .5; 1, 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6" dur="250" autoRev="1" fill="hold"/>
                                        <p:tgtEl>
                                          <p:spTgt spid="7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500" tmFilter="0, 0; .2, .5; .8, .5; 1, 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9" dur="250" autoRev="1" fill="hold"/>
                                        <p:tgtEl>
                                          <p:spTgt spid="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42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phep-thuat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1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500"/>
                            </p:stCondLst>
                            <p:childTnLst>
                              <p:par>
                                <p:cTn id="14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500" tmFilter="0, 0; .2, .5; .8, .5; 1, 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1" dur="250" autoRev="1" fill="hold"/>
                                        <p:tgtEl>
                                          <p:spTgt spid="5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3" dur="500" tmFilter="0, 0; .2, .5; .8, .5; 1, 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4" dur="250" autoRev="1" fill="hold"/>
                                        <p:tgtEl>
                                          <p:spTgt spid="8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5" fill="hold">
                      <p:stCondLst>
                        <p:cond delay="indefinite"/>
                      </p:stCondLst>
                      <p:childTnLst>
                        <p:par>
                          <p:cTn id="156" fill="hold">
                            <p:stCondLst>
                              <p:cond delay="0"/>
                            </p:stCondLst>
                            <p:childTnLst>
                              <p:par>
                                <p:cTn id="15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57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phep-thuat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16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9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0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1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4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9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0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500"/>
                            </p:stCondLst>
                            <p:childTnLst>
                              <p:par>
                                <p:cTn id="23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4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5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7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8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0" dur="500" tmFilter="0, 0; .2, .5; .8, .5; 1, 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1" dur="250" autoRev="1" fill="hold"/>
                                        <p:tgtEl>
                                          <p:spTgt spid="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3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4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6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7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9" dur="500" tmFilter="0, 0; .2, .5; .8, .5; 1, 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0" dur="250" autoRev="1" fill="hold"/>
                                        <p:tgtEl>
                                          <p:spTgt spid="7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1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2" dur="500" tmFilter="0, 0; .2, .5; .8, .5; 1, 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3" dur="250" autoRev="1" fill="hold"/>
                                        <p:tgtEl>
                                          <p:spTgt spid="9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4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5" dur="500" tmFilter="0, 0; .2, .5; .8, .5; 1, 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6" dur="250" autoRev="1" fill="hold"/>
                                        <p:tgtEl>
                                          <p:spTgt spid="9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8" dur="500" tmFilter="0, 0; .2, .5; .8, .5; 1, 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9" dur="250" autoRev="1" fill="hold"/>
                                        <p:tgtEl>
                                          <p:spTgt spid="9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1" dur="500" tmFilter="0, 0; .2, .5; .8, .5; 1, 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2" dur="250" autoRev="1" fill="hold"/>
                                        <p:tgtEl>
                                          <p:spTgt spid="9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4" dur="500" tmFilter="0, 0; .2, .5; .8, .5; 1, 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5" dur="250" autoRev="1" fill="hold"/>
                                        <p:tgtEl>
                                          <p:spTgt spid="9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7" dur="500" tmFilter="0, 0; .2, .5; .8, .5; 1, 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8" dur="250" autoRev="1" fill="hold"/>
                                        <p:tgtEl>
                                          <p:spTgt spid="9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0" dur="500" tmFilter="0, 0; .2, .5; .8, .5; 1, 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1" dur="250" autoRev="1" fill="hold"/>
                                        <p:tgtEl>
                                          <p:spTgt spid="9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3" dur="500" tmFilter="0, 0; .2, .5; .8, .5; 1, 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4" dur="250" autoRev="1" fill="hold"/>
                                        <p:tgtEl>
                                          <p:spTgt spid="9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6" dur="500" tmFilter="0, 0; .2, .5; .8, .5; 1, 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7" dur="250" autoRev="1" fill="hold"/>
                                        <p:tgtEl>
                                          <p:spTgt spid="9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8" fill="hold">
                      <p:stCondLst>
                        <p:cond delay="indefinite"/>
                      </p:stCondLst>
                      <p:childTnLst>
                        <p:par>
                          <p:cTn id="279" fill="hold">
                            <p:stCondLst>
                              <p:cond delay="0"/>
                            </p:stCondLst>
                            <p:childTnLst>
                              <p:par>
                                <p:cTn id="2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280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phep-thuat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285" fill="hold">
                            <p:stCondLst>
                              <p:cond delay="500"/>
                            </p:stCondLst>
                            <p:childTnLst>
                              <p:par>
                                <p:cTn id="28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7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8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9" fill="hold">
                      <p:stCondLst>
                        <p:cond delay="indefinite"/>
                      </p:stCondLst>
                      <p:childTnLst>
                        <p:par>
                          <p:cTn id="290" fill="hold">
                            <p:stCondLst>
                              <p:cond delay="0"/>
                            </p:stCondLst>
                            <p:childTnLst>
                              <p:par>
                                <p:cTn id="29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4.44444E-6 L 0.41393 0.00254 " pathEditMode="relative" rAng="0" ptsTypes="AA">
                                      <p:cBhvr>
                                        <p:cTn id="292" dur="2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690" y="116"/>
                                    </p:animMotion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291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phep-thuat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29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3.7037E-7 L 0.40885 0.0044 " pathEditMode="relative" rAng="0" ptsTypes="AA">
                                      <p:cBhvr>
                                        <p:cTn id="294" dur="2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443" y="208"/>
                                    </p:animMotion>
                                  </p:childTnLst>
                                </p:cTn>
                              </p:par>
                              <p:par>
                                <p:cTn id="29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2.96296E-6 L 0.44245 0.00764 " pathEditMode="relative" rAng="0" ptsTypes="AA">
                                      <p:cBhvr>
                                        <p:cTn id="296" dur="2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22" y="370"/>
                                    </p:animMotion>
                                  </p:childTnLst>
                                </p:cTn>
                              </p:par>
                              <p:par>
                                <p:cTn id="297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3.7037E-7 L -0.3638 -0.01898 " pathEditMode="relative" rAng="0" ptsTypes="AA">
                                      <p:cBhvr>
                                        <p:cTn id="298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190" y="-94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0" presetID="32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01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02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03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04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05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6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07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08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09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10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11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2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13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14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15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16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17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8" fill="hold">
                            <p:stCondLst>
                              <p:cond delay="3000"/>
                            </p:stCondLst>
                            <p:childTnLst>
                              <p:par>
                                <p:cTn id="3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31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Tieng-yeah-tre-con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28"/>
                  </p:tgtEl>
                </p:cond>
              </p:nextCondLst>
            </p:seq>
            <p:seq concurrent="1" nextAc="seek">
              <p:cTn id="322" restart="whenNotActive" fill="hold" evtFilter="cancelBubble" nodeType="interactiveSeq">
                <p:stCondLst>
                  <p:cond evt="onClick" delay="0">
                    <p:tgtEl>
                      <p:spTgt spid="1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23" fill="hold">
                      <p:stCondLst>
                        <p:cond delay="0"/>
                      </p:stCondLst>
                      <p:childTnLst>
                        <p:par>
                          <p:cTn id="324" fill="hold">
                            <p:stCondLst>
                              <p:cond delay="0"/>
                            </p:stCondLst>
                            <p:childTnLst>
                              <p:par>
                                <p:cTn id="32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3"/>
                  </p:tgtEl>
                </p:cond>
              </p:nextCondLst>
            </p:seq>
            <p:seq concurrent="1" nextAc="seek">
              <p:cTn id="328" restart="whenNotActive" fill="hold" evtFilter="cancelBubble" nodeType="interactiveSeq">
                <p:stCondLst>
                  <p:cond evt="onClick" delay="0">
                    <p:tgtEl>
                      <p:spTgt spid="1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29" fill="hold">
                      <p:stCondLst>
                        <p:cond delay="0"/>
                      </p:stCondLst>
                      <p:childTnLst>
                        <p:par>
                          <p:cTn id="330" fill="hold">
                            <p:stCondLst>
                              <p:cond delay="0"/>
                            </p:stCondLst>
                            <p:childTnLst>
                              <p:par>
                                <p:cTn id="33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2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4"/>
                  </p:tgtEl>
                </p:cond>
              </p:nextCondLst>
            </p:seq>
            <p:seq concurrent="1" nextAc="seek">
              <p:cTn id="334" restart="whenNotActive" fill="hold" evtFilter="cancelBubble" nodeType="interactiveSeq">
                <p:stCondLst>
                  <p:cond evt="onClick" delay="0">
                    <p:tgtEl>
                      <p:spTgt spid="1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35" fill="hold">
                      <p:stCondLst>
                        <p:cond delay="0"/>
                      </p:stCondLst>
                      <p:childTnLst>
                        <p:par>
                          <p:cTn id="336" fill="hold">
                            <p:stCondLst>
                              <p:cond delay="0"/>
                            </p:stCondLst>
                            <p:childTnLst>
                              <p:par>
                                <p:cTn id="33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8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5"/>
                  </p:tgtEl>
                </p:cond>
              </p:nextCondLst>
            </p:seq>
            <p:seq concurrent="1" nextAc="seek">
              <p:cTn id="340" restart="whenNotActive" fill="hold" evtFilter="cancelBubble" nodeType="interactiveSeq">
                <p:stCondLst>
                  <p:cond evt="onClick" delay="0">
                    <p:tgtEl>
                      <p:spTgt spid="1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41" fill="hold">
                      <p:stCondLst>
                        <p:cond delay="0"/>
                      </p:stCondLst>
                      <p:childTnLst>
                        <p:par>
                          <p:cTn id="342" fill="hold">
                            <p:stCondLst>
                              <p:cond delay="0"/>
                            </p:stCondLst>
                            <p:childTnLst>
                              <p:par>
                                <p:cTn id="34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4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6"/>
                  </p:tgtEl>
                </p:cond>
              </p:nextCondLst>
            </p:seq>
            <p:seq concurrent="1" nextAc="seek">
              <p:cTn id="346" restart="whenNotActive" fill="hold" evtFilter="cancelBubble" nodeType="interactiveSeq">
                <p:stCondLst>
                  <p:cond evt="onClick" delay="0">
                    <p:tgtEl>
                      <p:spTgt spid="1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47" fill="hold">
                      <p:stCondLst>
                        <p:cond delay="0"/>
                      </p:stCondLst>
                      <p:childTnLst>
                        <p:par>
                          <p:cTn id="348" fill="hold">
                            <p:stCondLst>
                              <p:cond delay="0"/>
                            </p:stCondLst>
                            <p:childTnLst>
                              <p:par>
                                <p:cTn id="34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7"/>
                  </p:tgtEl>
                </p:cond>
              </p:nextCondLst>
            </p:seq>
            <p:seq concurrent="1" nextAc="seek">
              <p:cTn id="352" restart="whenNotActive" fill="hold" evtFilter="cancelBubble" nodeType="interactiveSeq">
                <p:stCondLst>
                  <p:cond evt="onClick" delay="0">
                    <p:tgtEl>
                      <p:spTgt spid="1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53" fill="hold">
                      <p:stCondLst>
                        <p:cond delay="0"/>
                      </p:stCondLst>
                      <p:childTnLst>
                        <p:par>
                          <p:cTn id="354" fill="hold">
                            <p:stCondLst>
                              <p:cond delay="0"/>
                            </p:stCondLst>
                            <p:childTnLst>
                              <p:par>
                                <p:cTn id="35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8"/>
                  </p:tgtEl>
                </p:cond>
              </p:nextCondLst>
            </p:seq>
            <p:seq concurrent="1" nextAc="seek">
              <p:cTn id="358" restart="whenNotActive" fill="hold" evtFilter="cancelBubble" nodeType="interactiveSeq">
                <p:stCondLst>
                  <p:cond evt="onClick" delay="0">
                    <p:tgtEl>
                      <p:spTgt spid="1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59" fill="hold">
                      <p:stCondLst>
                        <p:cond delay="0"/>
                      </p:stCondLst>
                      <p:childTnLst>
                        <p:par>
                          <p:cTn id="360" fill="hold">
                            <p:stCondLst>
                              <p:cond delay="0"/>
                            </p:stCondLst>
                            <p:childTnLst>
                              <p:par>
                                <p:cTn id="36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2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9"/>
                  </p:tgtEl>
                </p:cond>
              </p:nextCondLst>
            </p:seq>
            <p:seq concurrent="1" nextAc="seek">
              <p:cTn id="364" restart="whenNotActive" fill="hold" evtFilter="cancelBubble" nodeType="interactiveSeq">
                <p:stCondLst>
                  <p:cond evt="onClick" delay="0">
                    <p:tgtEl>
                      <p:spTgt spid="1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65" fill="hold">
                      <p:stCondLst>
                        <p:cond delay="0"/>
                      </p:stCondLst>
                      <p:childTnLst>
                        <p:par>
                          <p:cTn id="366" fill="hold">
                            <p:stCondLst>
                              <p:cond delay="0"/>
                            </p:stCondLst>
                            <p:childTnLst>
                              <p:par>
                                <p:cTn id="36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8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0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A2E3FDC-F4D3-469D-ADFC-DA27D291B67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C1828AB-1784-44A2-BC98-DE51BE21478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9040" y="202376"/>
            <a:ext cx="7232166" cy="49759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1837191-C509-4650-9D7A-DD4CADF437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344" y="1112570"/>
            <a:ext cx="4164118" cy="5538747"/>
          </a:xfrm>
          <a:prstGeom prst="rect">
            <a:avLst/>
          </a:prstGeom>
        </p:spPr>
      </p:pic>
      <p:pic>
        <p:nvPicPr>
          <p:cNvPr id="7" name="Picture 4" descr="Scripted Clock Animation - Openclipart">
            <a:extLst>
              <a:ext uri="{FF2B5EF4-FFF2-40B4-BE49-F238E27FC236}">
                <a16:creationId xmlns:a16="http://schemas.microsoft.com/office/drawing/2014/main" id="{286F3605-963E-474B-8129-58CFCE2E0A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1" y="202377"/>
            <a:ext cx="1749230" cy="174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9C54F7-41CA-408F-9676-750634C4E322}"/>
              </a:ext>
            </a:extLst>
          </p:cNvPr>
          <p:cNvSpPr txBox="1"/>
          <p:nvPr/>
        </p:nvSpPr>
        <p:spPr>
          <a:xfrm>
            <a:off x="2765232" y="487680"/>
            <a:ext cx="6714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ì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h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ó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ên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à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ọc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Đ Ghé thăm Fb.com/nkpowerskills">
            <a:extLst>
              <a:ext uri="{FF2B5EF4-FFF2-40B4-BE49-F238E27FC236}">
                <a16:creationId xmlns:a16="http://schemas.microsoft.com/office/drawing/2014/main" id="{E60A6DAC-85D8-4675-AC8C-5D5CC78BDCE0}"/>
              </a:ext>
            </a:extLst>
          </p:cNvPr>
          <p:cNvSpPr/>
          <p:nvPr/>
        </p:nvSpPr>
        <p:spPr>
          <a:xfrm>
            <a:off x="2405271" y="5588595"/>
            <a:ext cx="6867938" cy="115977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ó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quà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ặc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iệt</a:t>
            </a:r>
            <a:endParaRPr kumimoji="0" lang="en-US" sz="36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12">
            <a:hlinkClick r:id="rId7" action="ppaction://hlinksldjump"/>
            <a:extLst>
              <a:ext uri="{FF2B5EF4-FFF2-40B4-BE49-F238E27FC236}">
                <a16:creationId xmlns:a16="http://schemas.microsoft.com/office/drawing/2014/main" id="{7360D3B4-EA21-4912-8763-87B060EA33C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33" y="5681246"/>
            <a:ext cx="970071" cy="970071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14" name="Picture 4" descr="Káº¿t quáº£ hÃ¬nh áº£nh cho right icon">
            <a:extLst>
              <a:ext uri="{FF2B5EF4-FFF2-40B4-BE49-F238E27FC236}">
                <a16:creationId xmlns:a16="http://schemas.microsoft.com/office/drawing/2014/main" id="{9C2326F3-2817-4437-A766-C0BE8FF9A9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601" y="5368981"/>
            <a:ext cx="952912" cy="95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BDB1A41-3618-4D2F-BAFD-6F576B56F29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94513" y="1233487"/>
            <a:ext cx="3627369" cy="3817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089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tra-loi-dung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959C716-D61D-4790-B532-E49E5645329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E3993B3-055E-4D36-86EA-CBE3A7AEBCB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9040" y="202376"/>
            <a:ext cx="7232166" cy="497591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0CFA0FE-FF50-40A6-90D3-C54028F7BE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344" y="1112570"/>
            <a:ext cx="4164118" cy="5538747"/>
          </a:xfrm>
          <a:prstGeom prst="rect">
            <a:avLst/>
          </a:prstGeom>
        </p:spPr>
      </p:pic>
      <p:pic>
        <p:nvPicPr>
          <p:cNvPr id="20" name="Picture 4" descr="Scripted Clock Animation - Openclipart">
            <a:extLst>
              <a:ext uri="{FF2B5EF4-FFF2-40B4-BE49-F238E27FC236}">
                <a16:creationId xmlns:a16="http://schemas.microsoft.com/office/drawing/2014/main" id="{06BB1586-5938-492C-BB7E-28C2A2123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1" y="202377"/>
            <a:ext cx="1749230" cy="174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771C212-5F6C-49AA-A9E9-29F8E8B87916}"/>
              </a:ext>
            </a:extLst>
          </p:cNvPr>
          <p:cNvSpPr txBox="1"/>
          <p:nvPr/>
        </p:nvSpPr>
        <p:spPr>
          <a:xfrm>
            <a:off x="2765232" y="487680"/>
            <a:ext cx="6714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ì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h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ó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ên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à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ọc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Đ Ghé thăm Fb.com/nkpowerskills">
            <a:extLst>
              <a:ext uri="{FF2B5EF4-FFF2-40B4-BE49-F238E27FC236}">
                <a16:creationId xmlns:a16="http://schemas.microsoft.com/office/drawing/2014/main" id="{CB70BFD6-3331-45E9-B45D-04A2E639F459}"/>
              </a:ext>
            </a:extLst>
          </p:cNvPr>
          <p:cNvSpPr/>
          <p:nvPr/>
        </p:nvSpPr>
        <p:spPr>
          <a:xfrm>
            <a:off x="2405271" y="5588595"/>
            <a:ext cx="6867938" cy="115977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háu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ắm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ay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ông</a:t>
            </a:r>
            <a:endParaRPr kumimoji="0" lang="en-US" sz="36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>
            <a:hlinkClick r:id="rId7" action="ppaction://hlinksldjump"/>
            <a:extLst>
              <a:ext uri="{FF2B5EF4-FFF2-40B4-BE49-F238E27FC236}">
                <a16:creationId xmlns:a16="http://schemas.microsoft.com/office/drawing/2014/main" id="{EB464BB0-83D6-4AC9-90DD-80CADFC3EFA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33" y="5681246"/>
            <a:ext cx="970071" cy="970071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24" name="Picture 4" descr="Káº¿t quáº£ hÃ¬nh áº£nh cho right icon">
            <a:extLst>
              <a:ext uri="{FF2B5EF4-FFF2-40B4-BE49-F238E27FC236}">
                <a16:creationId xmlns:a16="http://schemas.microsoft.com/office/drawing/2014/main" id="{A4B80E8B-A8E3-4181-AEE0-310A72D3AB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0018" y="5388859"/>
            <a:ext cx="952912" cy="95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F80AE7A-A84C-4717-8382-F0441822F2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29068" y="1250259"/>
            <a:ext cx="3266454" cy="3462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858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tra-loi-dung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08B8F1E1-D778-42EF-A44F-27AC0746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703CEA9-80FB-4BAB-BC7D-CEB526FE756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9040" y="202376"/>
            <a:ext cx="7232166" cy="497591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75B3D2B-2FD2-4F2C-90BA-2D24D1378B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344" y="1112570"/>
            <a:ext cx="4164118" cy="5538747"/>
          </a:xfrm>
          <a:prstGeom prst="rect">
            <a:avLst/>
          </a:prstGeom>
        </p:spPr>
      </p:pic>
      <p:pic>
        <p:nvPicPr>
          <p:cNvPr id="20" name="Picture 4" descr="Scripted Clock Animation - Openclipart">
            <a:extLst>
              <a:ext uri="{FF2B5EF4-FFF2-40B4-BE49-F238E27FC236}">
                <a16:creationId xmlns:a16="http://schemas.microsoft.com/office/drawing/2014/main" id="{52E19820-1B2D-48BD-A792-5AA366040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1" y="202377"/>
            <a:ext cx="1749230" cy="174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6D20B0A-2111-45B7-8FC1-50FBBB8AEFC0}"/>
              </a:ext>
            </a:extLst>
          </p:cNvPr>
          <p:cNvSpPr txBox="1"/>
          <p:nvPr/>
        </p:nvSpPr>
        <p:spPr>
          <a:xfrm>
            <a:off x="2765232" y="487680"/>
            <a:ext cx="6714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ì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h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ó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ên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à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ọc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Đ Ghé thăm Fb.com/nkpowerskills">
            <a:extLst>
              <a:ext uri="{FF2B5EF4-FFF2-40B4-BE49-F238E27FC236}">
                <a16:creationId xmlns:a16="http://schemas.microsoft.com/office/drawing/2014/main" id="{14F7F466-A587-464F-A5AA-D0AD9E9F0810}"/>
              </a:ext>
            </a:extLst>
          </p:cNvPr>
          <p:cNvSpPr/>
          <p:nvPr/>
        </p:nvSpPr>
        <p:spPr>
          <a:xfrm>
            <a:off x="2405271" y="5588595"/>
            <a:ext cx="6867938" cy="115977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ạ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hỏ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endParaRPr kumimoji="0" lang="en-US" sz="36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>
            <a:hlinkClick r:id="rId7" action="ppaction://hlinksldjump"/>
            <a:extLst>
              <a:ext uri="{FF2B5EF4-FFF2-40B4-BE49-F238E27FC236}">
                <a16:creationId xmlns:a16="http://schemas.microsoft.com/office/drawing/2014/main" id="{9CCB0691-3B9C-4C0F-A718-5170D29B0CD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33" y="5681246"/>
            <a:ext cx="970071" cy="970071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24" name="Picture 4" descr="Káº¿t quáº£ hÃ¬nh áº£nh cho right icon">
            <a:extLst>
              <a:ext uri="{FF2B5EF4-FFF2-40B4-BE49-F238E27FC236}">
                <a16:creationId xmlns:a16="http://schemas.microsoft.com/office/drawing/2014/main" id="{518647FE-5CB8-4EEE-86B0-C7B8207034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601" y="5368981"/>
            <a:ext cx="952912" cy="95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03B02BC-9A3F-4B61-8EF5-B66B4D6D8E4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38799" y="1154388"/>
            <a:ext cx="3774419" cy="3507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019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tra-loi-dung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B72E348-7874-4E99-8F79-6CB352988A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DA8616C-DCF8-44D4-8C05-1B0579000EE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9040" y="202376"/>
            <a:ext cx="7232166" cy="497591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B399B20-F45B-4ABB-B7FD-9C27F61F53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344" y="1112570"/>
            <a:ext cx="4164118" cy="5538747"/>
          </a:xfrm>
          <a:prstGeom prst="rect">
            <a:avLst/>
          </a:prstGeom>
        </p:spPr>
      </p:pic>
      <p:pic>
        <p:nvPicPr>
          <p:cNvPr id="20" name="Picture 4" descr="Scripted Clock Animation - Openclipart">
            <a:extLst>
              <a:ext uri="{FF2B5EF4-FFF2-40B4-BE49-F238E27FC236}">
                <a16:creationId xmlns:a16="http://schemas.microsoft.com/office/drawing/2014/main" id="{00538FFA-4EEA-47F4-A585-36BFE0999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1" y="202377"/>
            <a:ext cx="1749230" cy="174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DA127BA-37AA-4B66-958F-E570831CF1F3}"/>
              </a:ext>
            </a:extLst>
          </p:cNvPr>
          <p:cNvSpPr txBox="1"/>
          <p:nvPr/>
        </p:nvSpPr>
        <p:spPr>
          <a:xfrm>
            <a:off x="2765232" y="487680"/>
            <a:ext cx="6714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ì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h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ó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ên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à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ọc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Đ Ghé thăm Fb.com/nkpowerskills">
            <a:extLst>
              <a:ext uri="{FF2B5EF4-FFF2-40B4-BE49-F238E27FC236}">
                <a16:creationId xmlns:a16="http://schemas.microsoft.com/office/drawing/2014/main" id="{0DE2FA82-6055-4481-9046-D521529988F3}"/>
              </a:ext>
            </a:extLst>
          </p:cNvPr>
          <p:cNvSpPr/>
          <p:nvPr/>
        </p:nvSpPr>
        <p:spPr>
          <a:xfrm>
            <a:off x="2405271" y="5588595"/>
            <a:ext cx="6867938" cy="115977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rò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huyệ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ùng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ẹ</a:t>
            </a:r>
            <a:endParaRPr kumimoji="0" lang="en-US" sz="36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>
            <a:hlinkClick r:id="rId7" action="ppaction://hlinksldjump"/>
            <a:extLst>
              <a:ext uri="{FF2B5EF4-FFF2-40B4-BE49-F238E27FC236}">
                <a16:creationId xmlns:a16="http://schemas.microsoft.com/office/drawing/2014/main" id="{3B3DC66B-C381-4974-B4B1-22B38A9FF54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33" y="5681246"/>
            <a:ext cx="970071" cy="970071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24" name="Picture 4" descr="Káº¿t quáº£ hÃ¬nh áº£nh cho right icon">
            <a:extLst>
              <a:ext uri="{FF2B5EF4-FFF2-40B4-BE49-F238E27FC236}">
                <a16:creationId xmlns:a16="http://schemas.microsoft.com/office/drawing/2014/main" id="{DB76FE6D-5383-4060-9FF3-B0DF643FE1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0018" y="5329224"/>
            <a:ext cx="952912" cy="95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74F3913-7928-40F3-91ED-C9B24A60986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97580" y="1198493"/>
            <a:ext cx="3755447" cy="3592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80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tra-loi-dung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9D1E79C-2FCA-46F7-BC5B-9A27035EA8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26" t="8696" r="20544" b="78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7125964-F2AB-4C4C-BE0A-13122D05E31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9040" y="202376"/>
            <a:ext cx="7232166" cy="497591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4C1BEA2-F5A0-47CB-A2F4-0A68B8AB9A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344" y="1112570"/>
            <a:ext cx="4164118" cy="5538747"/>
          </a:xfrm>
          <a:prstGeom prst="rect">
            <a:avLst/>
          </a:prstGeom>
        </p:spPr>
      </p:pic>
      <p:pic>
        <p:nvPicPr>
          <p:cNvPr id="20" name="Picture 4" descr="Scripted Clock Animation - Openclipart">
            <a:extLst>
              <a:ext uri="{FF2B5EF4-FFF2-40B4-BE49-F238E27FC236}">
                <a16:creationId xmlns:a16="http://schemas.microsoft.com/office/drawing/2014/main" id="{70259134-0405-4F52-A47F-6BE77710D1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1" y="202377"/>
            <a:ext cx="1749230" cy="174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7256B52-45C4-4D10-8CAC-7F748A81AED1}"/>
              </a:ext>
            </a:extLst>
          </p:cNvPr>
          <p:cNvSpPr txBox="1"/>
          <p:nvPr/>
        </p:nvSpPr>
        <p:spPr>
          <a:xfrm>
            <a:off x="2765232" y="487680"/>
            <a:ext cx="6714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ì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h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ó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ên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ài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ọc</a:t>
            </a:r>
            <a:r>
              <a:rPr lang="en-US" sz="32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Đ Ghé thăm Fb.com/nkpowerskills">
            <a:extLst>
              <a:ext uri="{FF2B5EF4-FFF2-40B4-BE49-F238E27FC236}">
                <a16:creationId xmlns:a16="http://schemas.microsoft.com/office/drawing/2014/main" id="{1A32B84E-B676-42A7-AD8E-BE92B0369DFA}"/>
              </a:ext>
            </a:extLst>
          </p:cNvPr>
          <p:cNvSpPr/>
          <p:nvPr/>
        </p:nvSpPr>
        <p:spPr>
          <a:xfrm>
            <a:off x="2405271" y="5588595"/>
            <a:ext cx="6867938" cy="115977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lvl="0" algn="ctr"/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6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ọn</a:t>
            </a:r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ải</a:t>
            </a:r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ăng</a:t>
            </a:r>
            <a:endParaRPr kumimoji="0" lang="en-US" sz="36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>
            <a:hlinkClick r:id="rId7" action="ppaction://hlinksldjump"/>
            <a:extLst>
              <a:ext uri="{FF2B5EF4-FFF2-40B4-BE49-F238E27FC236}">
                <a16:creationId xmlns:a16="http://schemas.microsoft.com/office/drawing/2014/main" id="{C59F31B3-952B-496E-9ED9-0AC4FE7E868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33" y="5681246"/>
            <a:ext cx="970071" cy="970071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24" name="Picture 4" descr="Káº¿t quáº£ hÃ¬nh áº£nh cho right icon">
            <a:extLst>
              <a:ext uri="{FF2B5EF4-FFF2-40B4-BE49-F238E27FC236}">
                <a16:creationId xmlns:a16="http://schemas.microsoft.com/office/drawing/2014/main" id="{A79986B5-096D-4214-B85F-F7DD717C2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8801" y="5388859"/>
            <a:ext cx="952912" cy="95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C3FCB03-6AD2-4190-BCB2-25C72D25B5A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06887" y="1182549"/>
            <a:ext cx="3766930" cy="361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710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m-thanh-tra-loi-dung-www_nhacchuongvui_com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95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Cute Chicks Newsletter by Slidesgo">
  <a:themeElements>
    <a:clrScheme name="Simple Light">
      <a:dk1>
        <a:srgbClr val="000000"/>
      </a:dk1>
      <a:lt1>
        <a:srgbClr val="EFF5FF"/>
      </a:lt1>
      <a:dk2>
        <a:srgbClr val="6CA368"/>
      </a:dk2>
      <a:lt2>
        <a:srgbClr val="8AC789"/>
      </a:lt2>
      <a:accent1>
        <a:srgbClr val="F6DF5C"/>
      </a:accent1>
      <a:accent2>
        <a:srgbClr val="FDE886"/>
      </a:accent2>
      <a:accent3>
        <a:srgbClr val="FAC54B"/>
      </a:accent3>
      <a:accent4>
        <a:srgbClr val="E69138"/>
      </a:accent4>
      <a:accent5>
        <a:srgbClr val="CA1E49"/>
      </a:accent5>
      <a:accent6>
        <a:srgbClr val="BBA2FD"/>
      </a:accent6>
      <a:hlink>
        <a:srgbClr val="464646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te Chicks Newsletter by Slidesgo">
  <a:themeElements>
    <a:clrScheme name="Simple Light">
      <a:dk1>
        <a:srgbClr val="000000"/>
      </a:dk1>
      <a:lt1>
        <a:srgbClr val="EFF5FF"/>
      </a:lt1>
      <a:dk2>
        <a:srgbClr val="6CA368"/>
      </a:dk2>
      <a:lt2>
        <a:srgbClr val="8AC789"/>
      </a:lt2>
      <a:accent1>
        <a:srgbClr val="F6DF5C"/>
      </a:accent1>
      <a:accent2>
        <a:srgbClr val="FDE886"/>
      </a:accent2>
      <a:accent3>
        <a:srgbClr val="FAC54B"/>
      </a:accent3>
      <a:accent4>
        <a:srgbClr val="E69138"/>
      </a:accent4>
      <a:accent5>
        <a:srgbClr val="CA1E49"/>
      </a:accent5>
      <a:accent6>
        <a:srgbClr val="BBA2FD"/>
      </a:accent6>
      <a:hlink>
        <a:srgbClr val="464646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9Slide - 2021">
      <a:dk1>
        <a:sysClr val="windowText" lastClr="000000"/>
      </a:dk1>
      <a:lt1>
        <a:sysClr val="window" lastClr="FFFFFF"/>
      </a:lt1>
      <a:dk2>
        <a:srgbClr val="092D6C"/>
      </a:dk2>
      <a:lt2>
        <a:srgbClr val="FCECD0"/>
      </a:lt2>
      <a:accent1>
        <a:srgbClr val="4FC1E9"/>
      </a:accent1>
      <a:accent2>
        <a:srgbClr val="48CFAD"/>
      </a:accent2>
      <a:accent3>
        <a:srgbClr val="A0D468"/>
      </a:accent3>
      <a:accent4>
        <a:srgbClr val="FFBD45"/>
      </a:accent4>
      <a:accent5>
        <a:srgbClr val="FC6E51"/>
      </a:accent5>
      <a:accent6>
        <a:srgbClr val="ED5565"/>
      </a:accent6>
      <a:hlink>
        <a:srgbClr val="5D9CEC"/>
      </a:hlink>
      <a:folHlink>
        <a:srgbClr val="AC92EC"/>
      </a:folHlink>
    </a:clrScheme>
    <a:fontScheme name="9Slide Fonts">
      <a:majorFont>
        <a:latin typeface="#9Slide02 Tieu de dai"/>
        <a:ea typeface=""/>
        <a:cs typeface=""/>
      </a:majorFont>
      <a:minorFont>
        <a:latin typeface="#9Slide02 Noi dung da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mtClea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4C410E64-73D4-4894-A16A-B0A564A2C1B3}" vid="{BD11DD77-7AB8-40E7-98B4-F754939C4E0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5</TotalTime>
  <Words>139</Words>
  <Application>Microsoft Office PowerPoint</Application>
  <PresentationFormat>Widescreen</PresentationFormat>
  <Paragraphs>18</Paragraphs>
  <Slides>15</Slides>
  <Notes>2</Notes>
  <HiddenSlides>0</HiddenSlides>
  <MMClips>1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5</vt:i4>
      </vt:variant>
    </vt:vector>
  </HeadingPairs>
  <TitlesOfParts>
    <vt:vector size="35" baseType="lpstr">
      <vt:lpstr>#9Slide02 Noi dung dai</vt:lpstr>
      <vt:lpstr>#9Slide02 Tieu de dai</vt:lpstr>
      <vt:lpstr>#9Slide07 Crocante</vt:lpstr>
      <vt:lpstr>Arial</vt:lpstr>
      <vt:lpstr>Calibri</vt:lpstr>
      <vt:lpstr>Calibri Light</vt:lpstr>
      <vt:lpstr>Cambria</vt:lpstr>
      <vt:lpstr>Catamaran</vt:lpstr>
      <vt:lpstr>Livvic</vt:lpstr>
      <vt:lpstr>Nunito</vt:lpstr>
      <vt:lpstr>Roboto Condensed Light</vt:lpstr>
      <vt:lpstr>Roboto Slab Light</vt:lpstr>
      <vt:lpstr>Tahoma</vt:lpstr>
      <vt:lpstr>Times New Roman</vt:lpstr>
      <vt:lpstr>Titan One</vt:lpstr>
      <vt:lpstr>字魂80号-萌趣小鱼体</vt:lpstr>
      <vt:lpstr>Cute Chicks Newsletter by Slidesgo</vt:lpstr>
      <vt:lpstr>Office Theme</vt:lpstr>
      <vt:lpstr>1_Cute Chicks Newsletter by Slidesgo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o Tran</dc:creator>
  <cp:lastModifiedBy>DeLL</cp:lastModifiedBy>
  <cp:revision>58</cp:revision>
  <dcterms:created xsi:type="dcterms:W3CDTF">2022-09-19T05:24:27Z</dcterms:created>
  <dcterms:modified xsi:type="dcterms:W3CDTF">2026-01-06T03:24:56Z</dcterms:modified>
</cp:coreProperties>
</file>